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9.xml" ContentType="application/vnd.openxmlformats-officedocument.theme+xml"/>
  <Override PartName="/ppt/tags/tag1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10.xml" ContentType="application/vnd.openxmlformats-officedocument.theme+xml"/>
  <Override PartName="/ppt/tags/tag1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1.xml" ContentType="application/vnd.openxmlformats-officedocument.theme+xml"/>
  <Override PartName="/ppt/tags/tag14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1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14.xml" ContentType="application/vnd.openxmlformats-officedocument.theme+xml"/>
  <Override PartName="/ppt/tags/tag17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15.xml" ContentType="application/vnd.openxmlformats-officedocument.theme+xml"/>
  <Override PartName="/ppt/tags/tag18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16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7.xml" ContentType="application/vnd.openxmlformats-officedocument.theme+xml"/>
  <Override PartName="/ppt/tags/tag19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8.xml" ContentType="application/vnd.openxmlformats-officedocument.theme+xml"/>
  <Override PartName="/ppt/tags/tag20.xml" ContentType="application/vnd.openxmlformats-officedocument.presentationml.tags+xml"/>
  <Override PartName="/ppt/slideLayouts/slideLayout70.xml" ContentType="application/vnd.openxmlformats-officedocument.presentationml.slideLayout+xml"/>
  <Override PartName="/ppt/theme/theme19.xml" ContentType="application/vnd.openxmlformats-officedocument.theme+xml"/>
  <Override PartName="/ppt/tags/tag21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style1.xml" ContentType="application/vnd.ms-office.chartstyle+xml"/>
  <Override PartName="/ppt/charts/colors1.xml" ContentType="application/vnd.ms-office.chartcolor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  <p:sldMasterId id="2147483687" r:id="rId2"/>
    <p:sldMasterId id="2147483695" r:id="rId3"/>
    <p:sldMasterId id="2147483712" r:id="rId4"/>
    <p:sldMasterId id="2147483718" r:id="rId5"/>
    <p:sldMasterId id="2147483724" r:id="rId6"/>
    <p:sldMasterId id="2147483730" r:id="rId7"/>
    <p:sldMasterId id="2147483736" r:id="rId8"/>
    <p:sldMasterId id="2147483741" r:id="rId9"/>
    <p:sldMasterId id="2147483746" r:id="rId10"/>
    <p:sldMasterId id="2147483750" r:id="rId11"/>
    <p:sldMasterId id="2147483754" r:id="rId12"/>
    <p:sldMasterId id="2147483758" r:id="rId13"/>
    <p:sldMasterId id="2147483764" r:id="rId14"/>
    <p:sldMasterId id="2147483768" r:id="rId15"/>
    <p:sldMasterId id="2147483772" r:id="rId16"/>
    <p:sldMasterId id="2147483780" r:id="rId17"/>
    <p:sldMasterId id="2147483794" r:id="rId18"/>
    <p:sldMasterId id="2147483804" r:id="rId19"/>
    <p:sldMasterId id="2147483809" r:id="rId20"/>
  </p:sldMasterIdLst>
  <p:notesMasterIdLst>
    <p:notesMasterId r:id="rId26"/>
  </p:notesMasterIdLst>
  <p:handoutMasterIdLst>
    <p:handoutMasterId r:id="rId27"/>
  </p:handoutMasterIdLst>
  <p:sldIdLst>
    <p:sldId id="890" r:id="rId21"/>
    <p:sldId id="887" r:id="rId22"/>
    <p:sldId id="888" r:id="rId23"/>
    <p:sldId id="889" r:id="rId24"/>
    <p:sldId id="891" r:id="rId25"/>
  </p:sldIdLst>
  <p:sldSz cx="12195175" cy="6859588"/>
  <p:notesSz cx="6805613" cy="9939338"/>
  <p:defaultTextStyle>
    <a:defPPr>
      <a:defRPr lang="zh-CN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96" userDrawn="1">
          <p15:clr>
            <a:srgbClr val="A4A3A4"/>
          </p15:clr>
        </p15:guide>
        <p15:guide id="2" orient="horz" pos="104">
          <p15:clr>
            <a:srgbClr val="A4A3A4"/>
          </p15:clr>
        </p15:guide>
        <p15:guide id="3" orient="horz" pos="4134" userDrawn="1">
          <p15:clr>
            <a:srgbClr val="A4A3A4"/>
          </p15:clr>
        </p15:guide>
        <p15:guide id="4" orient="horz" pos="936" userDrawn="1">
          <p15:clr>
            <a:srgbClr val="A4A3A4"/>
          </p15:clr>
        </p15:guide>
        <p15:guide id="5" pos="371" userDrawn="1">
          <p15:clr>
            <a:srgbClr val="A4A3A4"/>
          </p15:clr>
        </p15:guide>
        <p15:guide id="6" pos="7335">
          <p15:clr>
            <a:srgbClr val="A4A3A4"/>
          </p15:clr>
        </p15:guide>
        <p15:guide id="7" pos="3864" userDrawn="1">
          <p15:clr>
            <a:srgbClr val="A4A3A4"/>
          </p15:clr>
        </p15:guide>
        <p15:guide id="8" orient="horz" pos="437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FFFFF"/>
    <a:srgbClr val="93A9CF"/>
    <a:srgbClr val="4198AF"/>
    <a:srgbClr val="71588F"/>
    <a:srgbClr val="89A54E"/>
    <a:srgbClr val="4572A7"/>
    <a:srgbClr val="AA4643"/>
    <a:srgbClr val="D9D9D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269D01E-BC32-4049-B463-5C60D7B0CCD2}" styleName="主题样式 2 - 强调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60" autoAdjust="0"/>
    <p:restoredTop sz="88447" autoAdjust="0"/>
  </p:normalViewPr>
  <p:slideViewPr>
    <p:cSldViewPr snapToGrid="0">
      <p:cViewPr varScale="1">
        <p:scale>
          <a:sx n="103" d="100"/>
          <a:sy n="103" d="100"/>
        </p:scale>
        <p:origin x="-990" y="-96"/>
      </p:cViewPr>
      <p:guideLst>
        <p:guide orient="horz" pos="596"/>
        <p:guide orient="horz" pos="104"/>
        <p:guide orient="horz" pos="4134"/>
        <p:guide orient="horz" pos="936"/>
        <p:guide orient="horz" pos="437"/>
        <p:guide pos="371"/>
        <p:guide pos="7335"/>
        <p:guide pos="38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274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G:\&#39592;&#24178;&#32593;&#32454;&#20998;&#24066;&#22330;\&#36328;&#22269;&#24178;&#32447;\&#36328;&#22269;&#27969;&#37327;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G:\&#39592;&#24178;&#32593;&#32454;&#20998;&#24066;&#22330;\&#36328;&#22269;&#24178;&#32447;\&#36328;&#22269;&#27969;&#37327;.xlsx" TargetMode="External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G:\&#39592;&#24178;&#32593;&#32454;&#20998;&#24066;&#22330;\&#36328;&#22269;&#24178;&#32447;\&#36328;&#22269;&#27969;&#37327;.xlsx" TargetMode="External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3.xml"/><Relationship Id="rId4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1.xml"/><Relationship Id="rId1" Type="http://schemas.openxmlformats.org/officeDocument/2006/relationships/oleObject" Target="file:///D:\Documents\Eurasia%20countries\2019\Kazakhstan\8_17.09.2019\&#1056;&#1057;&#1057;%20&#1057;&#1086;&#1074;&#1077;&#1090;%20&#1043;&#1083;&#1072;&#1074;\Copy%20of%20&#24037;&#20316;&#31807;2.xlsx" TargetMode="External"/><Relationship Id="rId4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分类型!$L$5</c:f>
              <c:strCache>
                <c:ptCount val="1"/>
                <c:pt idx="0">
                  <c:v>Africa</c:v>
                </c:pt>
              </c:strCache>
            </c:strRef>
          </c:tx>
          <c:spPr>
            <a:solidFill>
              <a:srgbClr val="4572A7"/>
            </a:solidFill>
            <a:ln>
              <a:noFill/>
            </a:ln>
            <a:effectLst/>
          </c:spPr>
          <c:invertIfNegative val="0"/>
          <c:cat>
            <c:numRef>
              <c:f>分类型!$M$4:$S$4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5:$S$5</c:f>
              <c:numCache>
                <c:formatCode>General</c:formatCode>
                <c:ptCount val="7"/>
                <c:pt idx="0">
                  <c:v>0.12000000000000002</c:v>
                </c:pt>
                <c:pt idx="1">
                  <c:v>0.193</c:v>
                </c:pt>
                <c:pt idx="2">
                  <c:v>0.31145000000000339</c:v>
                </c:pt>
                <c:pt idx="3">
                  <c:v>0.5040924999999995</c:v>
                </c:pt>
                <c:pt idx="4">
                  <c:v>0.81803262500000007</c:v>
                </c:pt>
                <c:pt idx="5">
                  <c:v>1.3305458312500154</c:v>
                </c:pt>
                <c:pt idx="6">
                  <c:v>2.1067183939717777</c:v>
                </c:pt>
              </c:numCache>
            </c:numRef>
          </c:val>
        </c:ser>
        <c:ser>
          <c:idx val="1"/>
          <c:order val="1"/>
          <c:tx>
            <c:strRef>
              <c:f>分类型!$L$6</c:f>
              <c:strCache>
                <c:ptCount val="1"/>
                <c:pt idx="0">
                  <c:v>Asia</c:v>
                </c:pt>
              </c:strCache>
            </c:strRef>
          </c:tx>
          <c:spPr>
            <a:solidFill>
              <a:srgbClr val="AA4643"/>
            </a:solidFill>
            <a:ln>
              <a:noFill/>
            </a:ln>
            <a:effectLst/>
          </c:spPr>
          <c:invertIfNegative val="0"/>
          <c:cat>
            <c:numRef>
              <c:f>分类型!$M$4:$S$4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6:$S$6</c:f>
              <c:numCache>
                <c:formatCode>General</c:formatCode>
                <c:ptCount val="7"/>
                <c:pt idx="0">
                  <c:v>30.72</c:v>
                </c:pt>
                <c:pt idx="1">
                  <c:v>50.653000000000006</c:v>
                </c:pt>
                <c:pt idx="2">
                  <c:v>83.528449999999978</c:v>
                </c:pt>
                <c:pt idx="3">
                  <c:v>137.7533425</c:v>
                </c:pt>
                <c:pt idx="4">
                  <c:v>221.93925796553856</c:v>
                </c:pt>
                <c:pt idx="5">
                  <c:v>349.6163042136414</c:v>
                </c:pt>
                <c:pt idx="6">
                  <c:v>538.93353960581783</c:v>
                </c:pt>
              </c:numCache>
            </c:numRef>
          </c:val>
        </c:ser>
        <c:ser>
          <c:idx val="2"/>
          <c:order val="2"/>
          <c:tx>
            <c:strRef>
              <c:f>分类型!$L$7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rgbClr val="89A54E"/>
            </a:solidFill>
            <a:ln>
              <a:noFill/>
            </a:ln>
            <a:effectLst/>
          </c:spPr>
          <c:invertIfNegative val="0"/>
          <c:cat>
            <c:numRef>
              <c:f>分类型!$M$4:$S$4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7:$S$7</c:f>
              <c:numCache>
                <c:formatCode>General</c:formatCode>
                <c:ptCount val="7"/>
                <c:pt idx="0">
                  <c:v>132.59</c:v>
                </c:pt>
                <c:pt idx="1">
                  <c:v>229.63850000000002</c:v>
                </c:pt>
                <c:pt idx="2">
                  <c:v>371.36022866204979</c:v>
                </c:pt>
                <c:pt idx="3">
                  <c:v>592.23613655073359</c:v>
                </c:pt>
                <c:pt idx="4">
                  <c:v>928.17707029700853</c:v>
                </c:pt>
                <c:pt idx="5">
                  <c:v>1430.2074818550109</c:v>
                </c:pt>
                <c:pt idx="6">
                  <c:v>2167.5575356330705</c:v>
                </c:pt>
              </c:numCache>
            </c:numRef>
          </c:val>
        </c:ser>
        <c:ser>
          <c:idx val="3"/>
          <c:order val="3"/>
          <c:tx>
            <c:strRef>
              <c:f>分类型!$L$8</c:f>
              <c:strCache>
                <c:ptCount val="1"/>
                <c:pt idx="0">
                  <c:v>Latin America</c:v>
                </c:pt>
              </c:strCache>
            </c:strRef>
          </c:tx>
          <c:spPr>
            <a:solidFill>
              <a:srgbClr val="71588F"/>
            </a:solidFill>
            <a:ln>
              <a:noFill/>
            </a:ln>
            <a:effectLst/>
          </c:spPr>
          <c:invertIfNegative val="0"/>
          <c:cat>
            <c:numRef>
              <c:f>分类型!$M$4:$S$4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8:$S$8</c:f>
              <c:numCache>
                <c:formatCode>General</c:formatCode>
                <c:ptCount val="7"/>
                <c:pt idx="0">
                  <c:v>4.7</c:v>
                </c:pt>
                <c:pt idx="1">
                  <c:v>7.7549999999999955</c:v>
                </c:pt>
                <c:pt idx="2">
                  <c:v>12.785076353712173</c:v>
                </c:pt>
                <c:pt idx="3">
                  <c:v>20.644356966260691</c:v>
                </c:pt>
                <c:pt idx="4">
                  <c:v>32.671500104963535</c:v>
                </c:pt>
                <c:pt idx="5">
                  <c:v>50.710304613811999</c:v>
                </c:pt>
                <c:pt idx="6">
                  <c:v>77.2447006633532</c:v>
                </c:pt>
              </c:numCache>
            </c:numRef>
          </c:val>
        </c:ser>
        <c:ser>
          <c:idx val="4"/>
          <c:order val="4"/>
          <c:tx>
            <c:strRef>
              <c:f>分类型!$L$9</c:f>
              <c:strCache>
                <c:ptCount val="1"/>
                <c:pt idx="0">
                  <c:v>Middle East</c:v>
                </c:pt>
              </c:strCache>
            </c:strRef>
          </c:tx>
          <c:spPr>
            <a:solidFill>
              <a:srgbClr val="4198AF"/>
            </a:solidFill>
            <a:ln>
              <a:noFill/>
            </a:ln>
            <a:effectLst/>
          </c:spPr>
          <c:invertIfNegative val="0"/>
          <c:cat>
            <c:numRef>
              <c:f>分类型!$M$4:$S$4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9:$S$9</c:f>
              <c:numCache>
                <c:formatCode>General</c:formatCode>
                <c:ptCount val="7"/>
                <c:pt idx="0">
                  <c:v>0.17</c:v>
                </c:pt>
                <c:pt idx="1">
                  <c:v>0.27300000000000002</c:v>
                </c:pt>
                <c:pt idx="2">
                  <c:v>0.4399500000000035</c:v>
                </c:pt>
                <c:pt idx="3">
                  <c:v>0.7112174999999995</c:v>
                </c:pt>
                <c:pt idx="4">
                  <c:v>1.152928875</c:v>
                </c:pt>
                <c:pt idx="5">
                  <c:v>1.8735206437499818</c:v>
                </c:pt>
                <c:pt idx="6">
                  <c:v>2.964464823560498</c:v>
                </c:pt>
              </c:numCache>
            </c:numRef>
          </c:val>
        </c:ser>
        <c:ser>
          <c:idx val="5"/>
          <c:order val="5"/>
          <c:tx>
            <c:strRef>
              <c:f>分类型!$L$10</c:f>
              <c:strCache>
                <c:ptCount val="1"/>
                <c:pt idx="0">
                  <c:v>Oceania</c:v>
                </c:pt>
              </c:strCache>
            </c:strRef>
          </c:tx>
          <c:spPr>
            <a:solidFill>
              <a:srgbClr val="FFFFFF"/>
            </a:solidFill>
            <a:ln>
              <a:noFill/>
            </a:ln>
            <a:effectLst/>
          </c:spPr>
          <c:invertIfNegative val="0"/>
          <c:cat>
            <c:numRef>
              <c:f>分类型!$M$4:$S$4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10:$S$10</c:f>
              <c:numCache>
                <c:formatCode>General</c:formatCode>
                <c:ptCount val="7"/>
                <c:pt idx="0">
                  <c:v>1.22</c:v>
                </c:pt>
                <c:pt idx="1">
                  <c:v>1.9830000000000001</c:v>
                </c:pt>
                <c:pt idx="2">
                  <c:v>3.2284251933874542</c:v>
                </c:pt>
                <c:pt idx="3">
                  <c:v>5.2632806546825854</c:v>
                </c:pt>
                <c:pt idx="4">
                  <c:v>8.4068979714922527</c:v>
                </c:pt>
                <c:pt idx="5">
                  <c:v>13.157744804210889</c:v>
                </c:pt>
                <c:pt idx="6">
                  <c:v>20.185414153410132</c:v>
                </c:pt>
              </c:numCache>
            </c:numRef>
          </c:val>
        </c:ser>
        <c:ser>
          <c:idx val="6"/>
          <c:order val="6"/>
          <c:tx>
            <c:strRef>
              <c:f>分类型!$L$11</c:f>
              <c:strCache>
                <c:ptCount val="1"/>
                <c:pt idx="0">
                  <c:v>U.S. &amp; Canada</c:v>
                </c:pt>
              </c:strCache>
            </c:strRef>
          </c:tx>
          <c:spPr>
            <a:solidFill>
              <a:srgbClr val="93A9CF"/>
            </a:solidFill>
            <a:ln>
              <a:noFill/>
            </a:ln>
            <a:effectLst/>
          </c:spPr>
          <c:invertIfNegative val="0"/>
          <c:cat>
            <c:numRef>
              <c:f>分类型!$M$4:$S$4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11:$S$11</c:f>
              <c:numCache>
                <c:formatCode>General</c:formatCode>
                <c:ptCount val="7"/>
                <c:pt idx="0">
                  <c:v>64.430000000000007</c:v>
                </c:pt>
                <c:pt idx="1">
                  <c:v>117.17450000000001</c:v>
                </c:pt>
                <c:pt idx="2">
                  <c:v>190.32686218340967</c:v>
                </c:pt>
                <c:pt idx="3">
                  <c:v>307.44317383267406</c:v>
                </c:pt>
                <c:pt idx="4">
                  <c:v>487.44314072519393</c:v>
                </c:pt>
                <c:pt idx="5">
                  <c:v>758.81572562074291</c:v>
                </c:pt>
                <c:pt idx="6">
                  <c:v>1160.33601374322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1357184"/>
        <c:axId val="91358720"/>
      </c:barChart>
      <c:catAx>
        <c:axId val="913571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358720"/>
        <c:crosses val="autoZero"/>
        <c:auto val="1"/>
        <c:lblAlgn val="ctr"/>
        <c:lblOffset val="100"/>
        <c:noMultiLvlLbl val="0"/>
      </c:catAx>
      <c:valAx>
        <c:axId val="91358720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357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分类型!$L$28</c:f>
              <c:strCache>
                <c:ptCount val="1"/>
                <c:pt idx="0">
                  <c:v>Africa</c:v>
                </c:pt>
              </c:strCache>
            </c:strRef>
          </c:tx>
          <c:invertIfNegative val="0"/>
          <c:cat>
            <c:numRef>
              <c:f>分类型!$M$27:$S$27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28:$S$28</c:f>
              <c:numCache>
                <c:formatCode>General</c:formatCode>
                <c:ptCount val="7"/>
                <c:pt idx="0">
                  <c:v>3.734604</c:v>
                </c:pt>
                <c:pt idx="1">
                  <c:v>5.6884203023839204</c:v>
                </c:pt>
                <c:pt idx="2">
                  <c:v>8.4137981211737589</c:v>
                </c:pt>
                <c:pt idx="3">
                  <c:v>12.17766543888432</c:v>
                </c:pt>
                <c:pt idx="4">
                  <c:v>17.358213078238929</c:v>
                </c:pt>
                <c:pt idx="5">
                  <c:v>24.377969809444391</c:v>
                </c:pt>
                <c:pt idx="6">
                  <c:v>34.240451174080285</c:v>
                </c:pt>
              </c:numCache>
            </c:numRef>
          </c:val>
        </c:ser>
        <c:ser>
          <c:idx val="1"/>
          <c:order val="1"/>
          <c:tx>
            <c:strRef>
              <c:f>分类型!$L$29</c:f>
              <c:strCache>
                <c:ptCount val="1"/>
                <c:pt idx="0">
                  <c:v>Asia</c:v>
                </c:pt>
              </c:strCache>
            </c:strRef>
          </c:tx>
          <c:invertIfNegative val="0"/>
          <c:cat>
            <c:numRef>
              <c:f>分类型!$M$27:$S$27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29:$S$29</c:f>
              <c:numCache>
                <c:formatCode>General</c:formatCode>
                <c:ptCount val="7"/>
                <c:pt idx="0">
                  <c:v>40.638204099609375</c:v>
                </c:pt>
                <c:pt idx="1">
                  <c:v>55.902688554908707</c:v>
                </c:pt>
                <c:pt idx="2">
                  <c:v>75.151469545046524</c:v>
                </c:pt>
                <c:pt idx="3">
                  <c:v>100.27376717558992</c:v>
                </c:pt>
                <c:pt idx="4">
                  <c:v>131.72816034970964</c:v>
                </c:pt>
                <c:pt idx="5">
                  <c:v>171.56912157765007</c:v>
                </c:pt>
                <c:pt idx="6">
                  <c:v>221.64563666281632</c:v>
                </c:pt>
              </c:numCache>
            </c:numRef>
          </c:val>
        </c:ser>
        <c:ser>
          <c:idx val="2"/>
          <c:order val="2"/>
          <c:tx>
            <c:strRef>
              <c:f>分类型!$L$30</c:f>
              <c:strCache>
                <c:ptCount val="1"/>
                <c:pt idx="0">
                  <c:v>Europe</c:v>
                </c:pt>
              </c:strCache>
            </c:strRef>
          </c:tx>
          <c:invertIfNegative val="0"/>
          <c:cat>
            <c:numRef>
              <c:f>分类型!$M$27:$S$27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30:$S$30</c:f>
              <c:numCache>
                <c:formatCode>General</c:formatCode>
                <c:ptCount val="7"/>
                <c:pt idx="0">
                  <c:v>172.09760544873046</c:v>
                </c:pt>
                <c:pt idx="1">
                  <c:v>225.42510991913664</c:v>
                </c:pt>
                <c:pt idx="2">
                  <c:v>295.00278935710622</c:v>
                </c:pt>
                <c:pt idx="3">
                  <c:v>382.68855896536394</c:v>
                </c:pt>
                <c:pt idx="4">
                  <c:v>493.08707007419866</c:v>
                </c:pt>
                <c:pt idx="5">
                  <c:v>631.60450425644854</c:v>
                </c:pt>
                <c:pt idx="6">
                  <c:v>807.36435160162091</c:v>
                </c:pt>
              </c:numCache>
            </c:numRef>
          </c:val>
        </c:ser>
        <c:ser>
          <c:idx val="3"/>
          <c:order val="3"/>
          <c:tx>
            <c:strRef>
              <c:f>分类型!$L$31</c:f>
              <c:strCache>
                <c:ptCount val="1"/>
                <c:pt idx="0">
                  <c:v>Latin America</c:v>
                </c:pt>
              </c:strCache>
            </c:strRef>
          </c:tx>
          <c:invertIfNegative val="0"/>
          <c:cat>
            <c:numRef>
              <c:f>分类型!$M$27:$S$27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31:$S$31</c:f>
              <c:numCache>
                <c:formatCode>General</c:formatCode>
                <c:ptCount val="7"/>
                <c:pt idx="0">
                  <c:v>27.12303</c:v>
                </c:pt>
                <c:pt idx="1">
                  <c:v>36.699859553466098</c:v>
                </c:pt>
                <c:pt idx="2">
                  <c:v>48.697519478883507</c:v>
                </c:pt>
                <c:pt idx="3">
                  <c:v>63.514564855098136</c:v>
                </c:pt>
                <c:pt idx="4">
                  <c:v>82.988034694313427</c:v>
                </c:pt>
                <c:pt idx="5">
                  <c:v>108.33006907704522</c:v>
                </c:pt>
                <c:pt idx="6">
                  <c:v>141.21458047005538</c:v>
                </c:pt>
              </c:numCache>
            </c:numRef>
          </c:val>
        </c:ser>
        <c:ser>
          <c:idx val="4"/>
          <c:order val="4"/>
          <c:tx>
            <c:strRef>
              <c:f>分类型!$L$32</c:f>
              <c:strCache>
                <c:ptCount val="1"/>
                <c:pt idx="0">
                  <c:v>Middle East</c:v>
                </c:pt>
              </c:strCache>
            </c:strRef>
          </c:tx>
          <c:invertIfNegative val="0"/>
          <c:cat>
            <c:numRef>
              <c:f>分类型!$M$27:$S$27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32:$S$32</c:f>
              <c:numCache>
                <c:formatCode>General</c:formatCode>
                <c:ptCount val="7"/>
                <c:pt idx="0">
                  <c:v>13.145188000000001</c:v>
                </c:pt>
                <c:pt idx="1">
                  <c:v>18.464236078773723</c:v>
                </c:pt>
                <c:pt idx="2">
                  <c:v>25.740005657467414</c:v>
                </c:pt>
                <c:pt idx="3">
                  <c:v>35.538553283025266</c:v>
                </c:pt>
                <c:pt idx="4">
                  <c:v>48.441319674455123</c:v>
                </c:pt>
                <c:pt idx="5">
                  <c:v>63.007219666401781</c:v>
                </c:pt>
                <c:pt idx="6">
                  <c:v>81.553104641492794</c:v>
                </c:pt>
              </c:numCache>
            </c:numRef>
          </c:val>
        </c:ser>
        <c:ser>
          <c:idx val="5"/>
          <c:order val="5"/>
          <c:tx>
            <c:strRef>
              <c:f>分类型!$L$33</c:f>
              <c:strCache>
                <c:ptCount val="1"/>
                <c:pt idx="0">
                  <c:v>Oceania</c:v>
                </c:pt>
              </c:strCache>
            </c:strRef>
          </c:tx>
          <c:spPr>
            <a:solidFill>
              <a:srgbClr val="FFFFFF"/>
            </a:solidFill>
          </c:spPr>
          <c:invertIfNegative val="0"/>
          <c:cat>
            <c:numRef>
              <c:f>分类型!$M$27:$S$27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33:$S$33</c:f>
              <c:numCache>
                <c:formatCode>General</c:formatCode>
                <c:ptCount val="7"/>
                <c:pt idx="0">
                  <c:v>2.4005578798828049</c:v>
                </c:pt>
                <c:pt idx="1">
                  <c:v>3.0247888147845794</c:v>
                </c:pt>
                <c:pt idx="2">
                  <c:v>3.7905878881189485</c:v>
                </c:pt>
                <c:pt idx="3">
                  <c:v>4.8318014645262313</c:v>
                </c:pt>
                <c:pt idx="4">
                  <c:v>6.1503836639899685</c:v>
                </c:pt>
                <c:pt idx="5">
                  <c:v>7.8236070675849465</c:v>
                </c:pt>
                <c:pt idx="6">
                  <c:v>9.9446932056020874</c:v>
                </c:pt>
              </c:numCache>
            </c:numRef>
          </c:val>
        </c:ser>
        <c:ser>
          <c:idx val="6"/>
          <c:order val="6"/>
          <c:tx>
            <c:strRef>
              <c:f>分类型!$L$34</c:f>
              <c:strCache>
                <c:ptCount val="1"/>
                <c:pt idx="0">
                  <c:v>U.S. &amp; Canada</c:v>
                </c:pt>
              </c:strCache>
            </c:strRef>
          </c:tx>
          <c:invertIfNegative val="0"/>
          <c:cat>
            <c:numRef>
              <c:f>分类型!$M$27:$S$27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34:$S$34</c:f>
              <c:numCache>
                <c:formatCode>General</c:formatCode>
                <c:ptCount val="7"/>
                <c:pt idx="0">
                  <c:v>60.308612253417955</c:v>
                </c:pt>
                <c:pt idx="1">
                  <c:v>79.071598831517349</c:v>
                </c:pt>
                <c:pt idx="2">
                  <c:v>101.34408586554792</c:v>
                </c:pt>
                <c:pt idx="3">
                  <c:v>128.41311635607161</c:v>
                </c:pt>
                <c:pt idx="4">
                  <c:v>162.8792372019366</c:v>
                </c:pt>
                <c:pt idx="5">
                  <c:v>206.57765265053175</c:v>
                </c:pt>
                <c:pt idx="6">
                  <c:v>261.24087381691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1408256"/>
        <c:axId val="91409792"/>
      </c:barChart>
      <c:catAx>
        <c:axId val="91408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rgbClr val="FFFFFF"/>
                </a:solidFill>
              </a:defRPr>
            </a:pPr>
            <a:endParaRPr lang="ru-RU"/>
          </a:p>
        </c:txPr>
        <c:crossAx val="91409792"/>
        <c:crosses val="autoZero"/>
        <c:auto val="1"/>
        <c:lblAlgn val="ctr"/>
        <c:lblOffset val="100"/>
        <c:noMultiLvlLbl val="0"/>
      </c:catAx>
      <c:valAx>
        <c:axId val="914097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 b="1">
                <a:solidFill>
                  <a:srgbClr val="FFFFFF"/>
                </a:solidFill>
              </a:defRPr>
            </a:pPr>
            <a:endParaRPr lang="ru-RU"/>
          </a:p>
        </c:txPr>
        <c:crossAx val="91408256"/>
        <c:crosses val="autoZero"/>
        <c:crossBetween val="between"/>
      </c:valAx>
    </c:plotArea>
    <c:legend>
      <c:legendPos val="r"/>
      <c:legendEntry>
        <c:idx val="5"/>
        <c:txPr>
          <a:bodyPr/>
          <a:lstStyle/>
          <a:p>
            <a:pPr>
              <a:defRPr sz="800">
                <a:solidFill>
                  <a:srgbClr val="FFFFFF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75951678987188098"/>
          <c:y val="0.11823738915022065"/>
          <c:w val="0.20951028637082963"/>
          <c:h val="0.76352522169955861"/>
        </c:manualLayout>
      </c:layout>
      <c:overlay val="0"/>
      <c:txPr>
        <a:bodyPr/>
        <a:lstStyle/>
        <a:p>
          <a:pPr>
            <a:defRPr sz="800">
              <a:solidFill>
                <a:srgbClr val="FFFFFF"/>
              </a:solidFill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6257512268028918E-2"/>
          <c:y val="6.3165920632474518E-2"/>
          <c:w val="0.60895828136496366"/>
          <c:h val="0.794306904967542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分类型!$L$16</c:f>
              <c:strCache>
                <c:ptCount val="1"/>
                <c:pt idx="0">
                  <c:v>Africa</c:v>
                </c:pt>
              </c:strCache>
            </c:strRef>
          </c:tx>
          <c:invertIfNegative val="0"/>
          <c:cat>
            <c:numRef>
              <c:f>分类型!$M$15:$S$15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16:$S$16</c:f>
              <c:numCache>
                <c:formatCode>General</c:formatCode>
                <c:ptCount val="7"/>
                <c:pt idx="0">
                  <c:v>0.39960262800000401</c:v>
                </c:pt>
                <c:pt idx="1">
                  <c:v>0.59278089997047734</c:v>
                </c:pt>
                <c:pt idx="2">
                  <c:v>0.85391247385353364</c:v>
                </c:pt>
                <c:pt idx="3">
                  <c:v>1.2036606281597175</c:v>
                </c:pt>
                <c:pt idx="4">
                  <c:v>1.6709512443588281</c:v>
                </c:pt>
                <c:pt idx="5">
                  <c:v>2.2854674693456731</c:v>
                </c:pt>
                <c:pt idx="6">
                  <c:v>3.1263365938454002</c:v>
                </c:pt>
              </c:numCache>
            </c:numRef>
          </c:val>
        </c:ser>
        <c:ser>
          <c:idx val="1"/>
          <c:order val="1"/>
          <c:tx>
            <c:strRef>
              <c:f>分类型!$L$17</c:f>
              <c:strCache>
                <c:ptCount val="1"/>
                <c:pt idx="0">
                  <c:v>Asia</c:v>
                </c:pt>
              </c:strCache>
            </c:strRef>
          </c:tx>
          <c:invertIfNegative val="0"/>
          <c:cat>
            <c:numRef>
              <c:f>分类型!$M$15:$S$15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17:$S$17</c:f>
              <c:numCache>
                <c:formatCode>General</c:formatCode>
                <c:ptCount val="7"/>
                <c:pt idx="0">
                  <c:v>4.3482878386581945</c:v>
                </c:pt>
                <c:pt idx="1">
                  <c:v>5.8255269953348012</c:v>
                </c:pt>
                <c:pt idx="2">
                  <c:v>7.627087832241215</c:v>
                </c:pt>
                <c:pt idx="3">
                  <c:v>9.9112252830597889</c:v>
                </c:pt>
                <c:pt idx="4">
                  <c:v>12.680529525783324</c:v>
                </c:pt>
                <c:pt idx="5">
                  <c:v>16.084835988188853</c:v>
                </c:pt>
                <c:pt idx="6">
                  <c:v>20.237433824752678</c:v>
                </c:pt>
              </c:numCache>
            </c:numRef>
          </c:val>
        </c:ser>
        <c:ser>
          <c:idx val="2"/>
          <c:order val="2"/>
          <c:tx>
            <c:strRef>
              <c:f>分类型!$L$18</c:f>
              <c:strCache>
                <c:ptCount val="1"/>
                <c:pt idx="0">
                  <c:v>Europe</c:v>
                </c:pt>
              </c:strCache>
            </c:strRef>
          </c:tx>
          <c:invertIfNegative val="0"/>
          <c:cat>
            <c:numRef>
              <c:f>分类型!$M$15:$S$15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18:$S$18</c:f>
              <c:numCache>
                <c:formatCode>General</c:formatCode>
                <c:ptCount val="7"/>
                <c:pt idx="0">
                  <c:v>18.414443783014171</c:v>
                </c:pt>
                <c:pt idx="1">
                  <c:v>23.491178997059791</c:v>
                </c:pt>
                <c:pt idx="2">
                  <c:v>29.939696439790129</c:v>
                </c:pt>
                <c:pt idx="3">
                  <c:v>37.82557121359001</c:v>
                </c:pt>
                <c:pt idx="4">
                  <c:v>47.465971848832666</c:v>
                </c:pt>
                <c:pt idx="5">
                  <c:v>59.213772075928652</c:v>
                </c:pt>
                <c:pt idx="6">
                  <c:v>73.716689775663127</c:v>
                </c:pt>
              </c:numCache>
            </c:numRef>
          </c:val>
        </c:ser>
        <c:ser>
          <c:idx val="3"/>
          <c:order val="3"/>
          <c:tx>
            <c:strRef>
              <c:f>分类型!$L$19</c:f>
              <c:strCache>
                <c:ptCount val="1"/>
                <c:pt idx="0">
                  <c:v>Latin America</c:v>
                </c:pt>
              </c:strCache>
            </c:strRef>
          </c:tx>
          <c:invertIfNegative val="0"/>
          <c:cat>
            <c:numRef>
              <c:f>分类型!$M$15:$S$15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19:$S$19</c:f>
              <c:numCache>
                <c:formatCode>General</c:formatCode>
                <c:ptCount val="7"/>
                <c:pt idx="0">
                  <c:v>2.9021642099999982</c:v>
                </c:pt>
                <c:pt idx="1">
                  <c:v>3.8244318489928171</c:v>
                </c:pt>
                <c:pt idx="2">
                  <c:v>4.9422886941032882</c:v>
                </c:pt>
                <c:pt idx="3">
                  <c:v>6.2778848223788755</c:v>
                </c:pt>
                <c:pt idx="4">
                  <c:v>7.9886656082818934</c:v>
                </c:pt>
                <c:pt idx="5">
                  <c:v>10.1560897303121</c:v>
                </c:pt>
                <c:pt idx="6">
                  <c:v>12.893647582607526</c:v>
                </c:pt>
              </c:numCache>
            </c:numRef>
          </c:val>
        </c:ser>
        <c:ser>
          <c:idx val="4"/>
          <c:order val="4"/>
          <c:tx>
            <c:strRef>
              <c:f>分类型!$L$20</c:f>
              <c:strCache>
                <c:ptCount val="1"/>
                <c:pt idx="0">
                  <c:v>Middle East</c:v>
                </c:pt>
              </c:strCache>
            </c:strRef>
          </c:tx>
          <c:invertIfNegative val="0"/>
          <c:cat>
            <c:numRef>
              <c:f>分类型!$M$15:$S$15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20:$S$20</c:f>
              <c:numCache>
                <c:formatCode>General</c:formatCode>
                <c:ptCount val="7"/>
                <c:pt idx="0">
                  <c:v>1.4065351159999859</c:v>
                </c:pt>
                <c:pt idx="1">
                  <c:v>1.9241275957502921</c:v>
                </c:pt>
                <c:pt idx="2">
                  <c:v>2.6123412508149952</c:v>
                </c:pt>
                <c:pt idx="3">
                  <c:v>3.5126894874237911</c:v>
                </c:pt>
                <c:pt idx="4">
                  <c:v>4.6630999990366773</c:v>
                </c:pt>
                <c:pt idx="5">
                  <c:v>5.9070116177471865</c:v>
                </c:pt>
                <c:pt idx="6">
                  <c:v>7.4462352755271723</c:v>
                </c:pt>
              </c:numCache>
            </c:numRef>
          </c:val>
        </c:ser>
        <c:ser>
          <c:idx val="5"/>
          <c:order val="5"/>
          <c:tx>
            <c:strRef>
              <c:f>分类型!$L$21</c:f>
              <c:strCache>
                <c:ptCount val="1"/>
                <c:pt idx="0">
                  <c:v>Oceania</c:v>
                </c:pt>
              </c:strCache>
            </c:strRef>
          </c:tx>
          <c:spPr>
            <a:solidFill>
              <a:srgbClr val="FFFFFF"/>
            </a:solidFill>
          </c:spPr>
          <c:invertIfNegative val="0"/>
          <c:cat>
            <c:numRef>
              <c:f>分类型!$M$15:$S$15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21:$S$21</c:f>
              <c:numCache>
                <c:formatCode>General</c:formatCode>
                <c:ptCount val="7"/>
                <c:pt idx="0">
                  <c:v>0.25685969314746565</c:v>
                </c:pt>
                <c:pt idx="1">
                  <c:v>0.31520825475874331</c:v>
                </c:pt>
                <c:pt idx="2">
                  <c:v>0.38470500887788528</c:v>
                </c:pt>
                <c:pt idx="3">
                  <c:v>0.47758326217143737</c:v>
                </c:pt>
                <c:pt idx="4">
                  <c:v>0.59205352476700213</c:v>
                </c:pt>
                <c:pt idx="5">
                  <c:v>0.73347368897720688</c:v>
                </c:pt>
                <c:pt idx="6">
                  <c:v>0.90800375629322072</c:v>
                </c:pt>
              </c:numCache>
            </c:numRef>
          </c:val>
        </c:ser>
        <c:ser>
          <c:idx val="6"/>
          <c:order val="6"/>
          <c:tx>
            <c:strRef>
              <c:f>分类型!$L$22</c:f>
              <c:strCache>
                <c:ptCount val="1"/>
                <c:pt idx="0">
                  <c:v>U.S. &amp; Canada</c:v>
                </c:pt>
              </c:strCache>
            </c:strRef>
          </c:tx>
          <c:invertIfNegative val="0"/>
          <c:cat>
            <c:numRef>
              <c:f>分类型!$M$15:$S$15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分类型!$M$22:$S$22</c:f>
              <c:numCache>
                <c:formatCode>General</c:formatCode>
                <c:ptCount val="7"/>
                <c:pt idx="0">
                  <c:v>6.4530215111157228</c:v>
                </c:pt>
                <c:pt idx="1">
                  <c:v>8.2399209316174939</c:v>
                </c:pt>
                <c:pt idx="2">
                  <c:v>10.285364329587889</c:v>
                </c:pt>
                <c:pt idx="3">
                  <c:v>12.692565177850549</c:v>
                </c:pt>
                <c:pt idx="4">
                  <c:v>15.679221291734718</c:v>
                </c:pt>
                <c:pt idx="5">
                  <c:v>19.366932879031818</c:v>
                </c:pt>
                <c:pt idx="6">
                  <c:v>23.8526910603392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1459968"/>
        <c:axId val="91461504"/>
      </c:barChart>
      <c:catAx>
        <c:axId val="914599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solidFill>
                  <a:srgbClr val="FFFFFF"/>
                </a:solidFill>
              </a:defRPr>
            </a:pPr>
            <a:endParaRPr lang="ru-RU"/>
          </a:p>
        </c:txPr>
        <c:crossAx val="91461504"/>
        <c:crosses val="autoZero"/>
        <c:auto val="1"/>
        <c:lblAlgn val="ctr"/>
        <c:lblOffset val="100"/>
        <c:noMultiLvlLbl val="0"/>
      </c:catAx>
      <c:valAx>
        <c:axId val="914615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 b="1">
                <a:solidFill>
                  <a:srgbClr val="FFFFFF"/>
                </a:solidFill>
              </a:defRPr>
            </a:pPr>
            <a:endParaRPr lang="ru-RU"/>
          </a:p>
        </c:txPr>
        <c:crossAx val="914599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1619610803664324"/>
          <c:y val="8.1104975489850697E-2"/>
          <c:w val="0.19887055640080201"/>
          <c:h val="0.85335204857794567"/>
        </c:manualLayout>
      </c:layout>
      <c:overlay val="0"/>
      <c:txPr>
        <a:bodyPr/>
        <a:lstStyle/>
        <a:p>
          <a:pPr>
            <a:defRPr sz="800">
              <a:solidFill>
                <a:srgbClr val="FFFFFF"/>
              </a:solidFill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I$12</c:f>
              <c:strCache>
                <c:ptCount val="1"/>
                <c:pt idx="0">
                  <c:v>Traffi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J$11:$Q$11</c:f>
              <c:numCache>
                <c:formatCode>General</c:formatCod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</c:numCache>
            </c:numRef>
          </c:cat>
          <c:val>
            <c:numRef>
              <c:f>Sheet1!$J$12:$Q$12</c:f>
              <c:numCache>
                <c:formatCode>General</c:formatCode>
                <c:ptCount val="8"/>
                <c:pt idx="0">
                  <c:v>9.5660000000000007</c:v>
                </c:pt>
                <c:pt idx="1">
                  <c:v>13.775</c:v>
                </c:pt>
                <c:pt idx="2">
                  <c:v>19.529</c:v>
                </c:pt>
                <c:pt idx="3">
                  <c:v>27.587</c:v>
                </c:pt>
                <c:pt idx="4">
                  <c:v>38.636000000000003</c:v>
                </c:pt>
                <c:pt idx="5">
                  <c:v>53.375</c:v>
                </c:pt>
                <c:pt idx="6">
                  <c:v>72.501000000000005</c:v>
                </c:pt>
                <c:pt idx="7">
                  <c:v>98.34799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91787264"/>
        <c:axId val="91788800"/>
      </c:barChart>
      <c:lineChart>
        <c:grouping val="standard"/>
        <c:varyColors val="0"/>
        <c:ser>
          <c:idx val="1"/>
          <c:order val="1"/>
          <c:tx>
            <c:strRef>
              <c:f>Sheet1!$I$13</c:f>
              <c:strCache>
                <c:ptCount val="1"/>
                <c:pt idx="0">
                  <c:v>CAGR</c:v>
                </c:pt>
              </c:strCache>
            </c:strRef>
          </c:tx>
          <c:spPr>
            <a:ln w="28575" cap="rnd">
              <a:solidFill>
                <a:srgbClr val="FFFF00">
                  <a:alpha val="96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rgbClr val="FFC000">
                    <a:alpha val="96000"/>
                  </a:srgbClr>
                </a:solidFill>
              </a:ln>
              <a:effectLst/>
            </c:spPr>
          </c:marker>
          <c:dLbls>
            <c:dLbl>
              <c:idx val="7"/>
              <c:layout>
                <c:manualLayout>
                  <c:x val="-5.7992762208669606E-2"/>
                  <c:y val="-0.1242969663933926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J$11:$Q$11</c:f>
              <c:numCache>
                <c:formatCode>General</c:formatCode>
                <c:ptCount val="8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</c:numCache>
            </c:numRef>
          </c:cat>
          <c:val>
            <c:numRef>
              <c:f>Sheet1!$J$13:$Q$13</c:f>
              <c:numCache>
                <c:formatCode>0%</c:formatCode>
                <c:ptCount val="8"/>
                <c:pt idx="1">
                  <c:v>0.43999581852393899</c:v>
                </c:pt>
                <c:pt idx="2">
                  <c:v>0.41771324863883841</c:v>
                </c:pt>
                <c:pt idx="3">
                  <c:v>0.41261713349377849</c:v>
                </c:pt>
                <c:pt idx="4">
                  <c:v>0.40051473520136316</c:v>
                </c:pt>
                <c:pt idx="5">
                  <c:v>0.38148359043379232</c:v>
                </c:pt>
                <c:pt idx="6">
                  <c:v>0.35833255269320863</c:v>
                </c:pt>
                <c:pt idx="7">
                  <c:v>0.3565054275113446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796224"/>
        <c:axId val="91790336"/>
      </c:lineChart>
      <c:catAx>
        <c:axId val="91787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788800"/>
        <c:crosses val="autoZero"/>
        <c:auto val="1"/>
        <c:lblAlgn val="ctr"/>
        <c:lblOffset val="100"/>
        <c:noMultiLvlLbl val="0"/>
      </c:catAx>
      <c:valAx>
        <c:axId val="91788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787264"/>
        <c:crosses val="autoZero"/>
        <c:crossBetween val="between"/>
      </c:valAx>
      <c:valAx>
        <c:axId val="91790336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796224"/>
        <c:crosses val="max"/>
        <c:crossBetween val="between"/>
      </c:valAx>
      <c:catAx>
        <c:axId val="91796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179033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FFFFFF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lnSpc>
                <a:spcPct val="150000"/>
              </a:lnSpc>
              <a:defRPr sz="12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Если в</a:t>
            </a:r>
            <a:r>
              <a:rPr lang="ru-RU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РСС </a:t>
            </a:r>
            <a:r>
              <a:rPr lang="ru-RU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средняя</a:t>
            </a:r>
            <a:r>
              <a:rPr lang="ru-RU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ширина полосы магистральной транзитной сети на одного  </a:t>
            </a:r>
          </a:p>
          <a:p>
            <a:pPr>
              <a:lnSpc>
                <a:spcPct val="150000"/>
              </a:lnSpc>
              <a:defRPr sz="12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ru-RU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пользователя достигнет</a:t>
            </a:r>
            <a:r>
              <a:rPr lang="en-US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1000</a:t>
            </a:r>
            <a:r>
              <a:rPr lang="ru-RU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кбит/сек</a:t>
            </a:r>
            <a:r>
              <a:rPr lang="en-US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@ 2025,</a:t>
            </a:r>
            <a:r>
              <a:rPr lang="ru-RU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потребуется транзитная сеть емкостью</a:t>
            </a:r>
            <a:endParaRPr lang="en-US" sz="1200" b="1" baseline="0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  <a:defRPr sz="1200" b="0" i="0" u="none" strike="noStrike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~</a:t>
            </a:r>
            <a:r>
              <a:rPr lang="en-US" sz="1200" b="1" baseline="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40</a:t>
            </a:r>
            <a:r>
              <a:rPr lang="ru-RU" sz="1200" b="1" baseline="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Терабит/сек</a:t>
            </a:r>
            <a:r>
              <a:rPr lang="en-US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(</a:t>
            </a:r>
            <a:r>
              <a:rPr lang="ru-RU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население региона - </a:t>
            </a:r>
            <a:r>
              <a:rPr lang="en-US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40</a:t>
            </a:r>
            <a:r>
              <a:rPr lang="ru-RU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млн</a:t>
            </a:r>
            <a:r>
              <a:rPr lang="en-US" sz="1200" b="1" baseline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en-US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c:rich>
      </c:tx>
      <c:layout>
        <c:manualLayout>
          <c:xMode val="edge"/>
          <c:yMode val="edge"/>
          <c:x val="0.28223674305671953"/>
          <c:y val="0.1233832567980072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3.9059452538665239E-2"/>
          <c:y val="0.20296980750040297"/>
          <c:w val="0.92735809665894275"/>
          <c:h val="0.681789056373458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3!$D$5</c:f>
              <c:strCache>
                <c:ptCount val="1"/>
                <c:pt idx="0">
                  <c:v>International internet bandwidth per Internet user (Kbps)
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altLang="zh-CN" smtClean="0"/>
                      <a:t>1000</a:t>
                    </a:r>
                    <a:endParaRPr lang="en-US" altLang="zh-CN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C$6:$C$17</c:f>
              <c:strCache>
                <c:ptCount val="12"/>
                <c:pt idx="0">
                  <c:v>Франция</c:v>
                </c:pt>
                <c:pt idx="1">
                  <c:v>Германия</c:v>
                </c:pt>
                <c:pt idx="2">
                  <c:v>Европа</c:v>
                </c:pt>
                <c:pt idx="3">
                  <c:v>Грузия</c:v>
                </c:pt>
                <c:pt idx="4">
                  <c:v>Беларусь</c:v>
                </c:pt>
                <c:pt idx="5">
                  <c:v>Россия</c:v>
                </c:pt>
                <c:pt idx="6">
                  <c:v>Казахстан</c:v>
                </c:pt>
                <c:pt idx="7">
                  <c:v>Монголия</c:v>
                </c:pt>
                <c:pt idx="8">
                  <c:v>Кыгрызстан</c:v>
                </c:pt>
                <c:pt idx="9">
                  <c:v>Таджикистан</c:v>
                </c:pt>
                <c:pt idx="10">
                  <c:v>Узбекистан</c:v>
                </c:pt>
                <c:pt idx="11">
                  <c:v>Туркменистан</c:v>
                </c:pt>
              </c:strCache>
              <c:extLst/>
            </c:strRef>
          </c:cat>
          <c:val>
            <c:numRef>
              <c:f>Sheet3!$D$6:$D$17</c:f>
              <c:numCache>
                <c:formatCode>General</c:formatCode>
                <c:ptCount val="12"/>
                <c:pt idx="0">
                  <c:v>2966.6</c:v>
                </c:pt>
                <c:pt idx="1">
                  <c:v>2890.11</c:v>
                </c:pt>
                <c:pt idx="2">
                  <c:v>1000</c:v>
                </c:pt>
                <c:pt idx="3">
                  <c:v>227.51</c:v>
                </c:pt>
                <c:pt idx="4">
                  <c:v>198.2</c:v>
                </c:pt>
                <c:pt idx="5">
                  <c:v>155.09</c:v>
                </c:pt>
                <c:pt idx="6">
                  <c:v>125.13</c:v>
                </c:pt>
                <c:pt idx="7">
                  <c:v>54.16</c:v>
                </c:pt>
                <c:pt idx="8">
                  <c:v>15.06</c:v>
                </c:pt>
                <c:pt idx="9">
                  <c:v>3.8</c:v>
                </c:pt>
                <c:pt idx="10">
                  <c:v>2.61</c:v>
                </c:pt>
                <c:pt idx="11">
                  <c:v>2.44</c:v>
                </c:pt>
              </c:numCache>
              <c:extLst/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1532288"/>
        <c:axId val="94577792"/>
      </c:barChart>
      <c:catAx>
        <c:axId val="91532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4577792"/>
        <c:crosses val="autoZero"/>
        <c:auto val="1"/>
        <c:lblAlgn val="ctr"/>
        <c:lblOffset val="100"/>
        <c:noMultiLvlLbl val="0"/>
      </c:catAx>
      <c:valAx>
        <c:axId val="945777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5322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129</cdr:x>
      <cdr:y>0.57197</cdr:y>
    </cdr:from>
    <cdr:to>
      <cdr:x>0.64919</cdr:x>
      <cdr:y>0.67344</cdr:y>
    </cdr:to>
    <cdr:sp macro="" textlink="">
      <cdr:nvSpPr>
        <cdr:cNvPr id="2" name="文本框 1"/>
        <cdr:cNvSpPr txBox="1"/>
      </cdr:nvSpPr>
      <cdr:spPr>
        <a:xfrm xmlns:a="http://schemas.openxmlformats.org/drawingml/2006/main">
          <a:off x="3297662" y="1561361"/>
          <a:ext cx="4313034" cy="27699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algn="ctr">
            <a:lnSpc>
              <a:spcPct val="100000"/>
            </a:lnSpc>
          </a:pPr>
          <a:r>
            <a:rPr lang="en-US" altLang="zh-CN" sz="1200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~1000 </a:t>
          </a:r>
          <a:r>
            <a:rPr lang="ru-RU" altLang="zh-CN" sz="1200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кбит/сек</a:t>
          </a:r>
          <a:r>
            <a:rPr lang="en-US" altLang="zh-CN" sz="1200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/</a:t>
          </a:r>
          <a:r>
            <a:rPr lang="ru-RU" altLang="zh-CN" sz="1200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пользователь</a:t>
          </a:r>
          <a:r>
            <a:rPr lang="en-US" altLang="zh-CN" sz="1200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  @ </a:t>
          </a:r>
          <a:r>
            <a:rPr lang="ru-RU" altLang="zh-CN" sz="1200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Европа </a:t>
          </a:r>
          <a:r>
            <a:rPr lang="en-US" altLang="zh-CN" sz="1200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rPr>
            <a:t>2018</a:t>
          </a:r>
          <a:endParaRPr lang="zh-CN" altLang="en-US" sz="1200" dirty="0" smtClean="0">
            <a:solidFill>
              <a:srgbClr val="FFFFFF"/>
            </a:solidFill>
            <a:latin typeface="Microsoft YaHei" panose="020B0503020204020204" pitchFamily="34" charset="-122"/>
            <a:ea typeface="Microsoft YaHei" panose="020B0503020204020204" pitchFamily="34" charset="-122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1C50C0-09A3-47A4-801C-C02ADCD30E1A}" type="datetimeFigureOut">
              <a:rPr lang="en-US" smtClean="0"/>
              <a:t>9/16/2019</a:t>
            </a:fld>
            <a:endParaRPr 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E5F6E4-3740-4C03-9DC4-B3C40C72D3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81162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08A45C-F877-4448-8153-95AD000DFD88}" type="datetimeFigureOut">
              <a:rPr lang="zh-CN" altLang="en-US" smtClean="0"/>
              <a:t>2019/9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245A3C-6CA3-4BAB-8C94-A35E7238B1E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9558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19100" y="1239838"/>
            <a:ext cx="5959475" cy="33528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1DF2EB-FEF8-487E-A3D8-948827253F8B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604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38272" lvl="0" indent="-285750">
              <a:buFont typeface="Wingdings" panose="05000000000000000000" pitchFamily="2" charset="2"/>
              <a:buChar char="Ø"/>
            </a:pPr>
            <a:r>
              <a:rPr lang="en-US" sz="1400" b="1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 Horizontal </a:t>
            </a:r>
            <a:r>
              <a:rPr 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oute </a:t>
            </a:r>
          </a:p>
          <a:p>
            <a:pPr lvl="1"/>
            <a:r>
              <a:rPr 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:China/</a:t>
            </a:r>
            <a:r>
              <a:rPr lang="en-US" sz="1400" b="1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ogolia</a:t>
            </a:r>
            <a:r>
              <a:rPr 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Russia-Europe</a:t>
            </a:r>
          </a:p>
          <a:p>
            <a:pPr lvl="1"/>
            <a:r>
              <a:rPr 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:China—Kazakhstan---Russia-Europe</a:t>
            </a:r>
          </a:p>
          <a:p>
            <a:pPr lvl="1"/>
            <a:r>
              <a:rPr 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3:China---Kazakhstan----Caspian Sea---Azerbaijan----Georgia---Black sea—Europe</a:t>
            </a:r>
          </a:p>
          <a:p>
            <a:pPr lvl="1"/>
            <a:endParaRPr lang="en-US" sz="14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09722" lvl="0" indent="-457200">
              <a:buFont typeface="Wingdings" panose="05000000000000000000" pitchFamily="2" charset="2"/>
              <a:buChar char="ü"/>
            </a:pPr>
            <a:r>
              <a:rPr lang="en-US" sz="1400" b="1" dirty="0" smtClean="0">
                <a:solidFill>
                  <a:srgbClr val="0000C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 Horizontal </a:t>
            </a:r>
            <a:r>
              <a:rPr 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oute</a:t>
            </a:r>
            <a:endParaRPr lang="en-US" sz="1600" b="1" dirty="0" smtClean="0">
              <a:solidFill>
                <a:srgbClr val="0000C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/>
            <a:r>
              <a:rPr 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: China---Kazakhstan----Kyrgyzstan---Tajikistan---Uzbekistan—Turkmenistan</a:t>
            </a:r>
          </a:p>
          <a:p>
            <a:pPr lvl="1"/>
            <a:r>
              <a:rPr lang="en-US" sz="12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:Russia---Georgia---Armenia---Turkey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245A3C-6CA3-4BAB-8C94-A35E7238B1E6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629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19100" y="1239838"/>
            <a:ext cx="5959475" cy="33528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sz="8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7D5FAD7-8B00-49DF-82A7-BA301D0C4A8F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935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812" y="1502337"/>
            <a:ext cx="10732160" cy="4691545"/>
          </a:xfrm>
          <a:prstGeom prst="rect">
            <a:avLst/>
          </a:prstGeom>
        </p:spPr>
        <p:txBody>
          <a:bodyPr lIns="0" tIns="0" rIns="0" bIns="0"/>
          <a:lstStyle>
            <a:lvl1pPr marL="12372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299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2pPr>
            <a:lvl3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3pPr>
            <a:lvl4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4pPr>
            <a:lvl5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1312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8791" y="727749"/>
            <a:ext cx="11345079" cy="615720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3200" baseline="0">
                <a:solidFill>
                  <a:srgbClr val="404040"/>
                </a:solidFill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defRPr>
            </a:lvl1pPr>
            <a:lvl2pPr marL="609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7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0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112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25048" y="2647426"/>
            <a:ext cx="11345079" cy="156505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ctr" defTabSz="121907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4000" baseline="0">
                <a:solidFill>
                  <a:schemeClr val="bg1"/>
                </a:solidFill>
                <a:latin typeface="+mn-ea"/>
                <a:ea typeface="+mn-ea"/>
              </a:defRPr>
            </a:lvl1pPr>
            <a:lvl2pPr marL="609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微软雅黑 </a:t>
            </a:r>
            <a:r>
              <a:rPr lang="en-US" altLang="zh-CN" dirty="0" smtClean="0"/>
              <a:t>40pt </a:t>
            </a:r>
            <a:r>
              <a:rPr lang="zh-CN" altLang="en-US" dirty="0" smtClean="0"/>
              <a:t>，居中，最多两行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8981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 bwMode="auto">
          <a:xfrm>
            <a:off x="922177" y="115448"/>
            <a:ext cx="10975975" cy="1332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noAutofit/>
          </a:bodyPr>
          <a:lstStyle>
            <a:lvl1pPr algn="l" rtl="0" eaLnBrk="1" fontAlgn="base" hangingPunct="1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 lang="zh-CN" altLang="en-US" sz="3200" b="1" kern="1200" noProof="0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defRPr>
            </a:lvl1pPr>
          </a:lstStyle>
          <a:p>
            <a:pPr marL="0" marR="0" lvl="0" indent="0" algn="l" defTabSz="9143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单击此处编辑母版标题样式</a:t>
            </a:r>
            <a:endParaRPr kumimoji="0" lang="zh-CN" altLang="en-US" sz="33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6281214" y="6522347"/>
            <a:ext cx="1803398" cy="276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4309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de-DE" altLang="zh-CN" sz="1200" dirty="0" smtClean="0">
                <a:solidFill>
                  <a:srgbClr val="FFFFFF">
                    <a:lumMod val="85000"/>
                  </a:srgbClr>
                </a:solidFill>
                <a:latin typeface="微软雅黑" panose="020B0503020204020204" charset="-122"/>
              </a:rPr>
              <a:t> </a:t>
            </a:r>
            <a:fld id="{A4C34F22-587E-473D-9099-376F4F013A30}" type="slidenum">
              <a:rPr lang="de-DE" altLang="zh-CN" sz="1200" dirty="0" smtClean="0">
                <a:solidFill>
                  <a:srgbClr val="FFFFFF">
                    <a:lumMod val="85000"/>
                  </a:srgbClr>
                </a:solidFill>
                <a:latin typeface="微软雅黑" panose="020B0503020204020204" charset="-122"/>
              </a:rPr>
              <a:pPr defTabSz="914309" eaLnBrk="0" fontAlgn="base" hangingPunct="0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zh-CN" sz="1200" dirty="0">
              <a:solidFill>
                <a:srgbClr val="FFFFFF">
                  <a:lumMod val="85000"/>
                </a:srgbClr>
              </a:solidFill>
              <a:latin typeface="微软雅黑" panose="020B0503020204020204" charset="-122"/>
            </a:endParaRPr>
          </a:p>
        </p:txBody>
      </p:sp>
      <p:sp>
        <p:nvSpPr>
          <p:cNvPr id="8" name="Rectangle 21"/>
          <p:cNvSpPr>
            <a:spLocks noChangeArrowheads="1"/>
          </p:cNvSpPr>
          <p:nvPr userDrawn="1"/>
        </p:nvSpPr>
        <p:spPr bwMode="auto">
          <a:xfrm>
            <a:off x="5840826" y="6480131"/>
            <a:ext cx="516390" cy="184193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 lIns="80051" tIns="0" rIns="80051" bIns="0">
            <a:spAutoFit/>
          </a:bodyPr>
          <a:lstStyle/>
          <a:p>
            <a:pPr defTabSz="80129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 dirty="0" smtClean="0">
                <a:solidFill>
                  <a:srgbClr val="FFFFFF">
                    <a:lumMod val="85000"/>
                  </a:srgbClr>
                </a:solidFill>
                <a:latin typeface="微软雅黑" panose="020B0503020204020204" charset="-122"/>
              </a:rPr>
              <a:t>Page</a:t>
            </a:r>
            <a:endParaRPr lang="en-US" altLang="zh-CN" sz="1200" dirty="0">
              <a:solidFill>
                <a:srgbClr val="FFFFFF">
                  <a:lumMod val="85000"/>
                </a:srgbClr>
              </a:solidFill>
              <a:latin typeface="微软雅黑" panose="020B0503020204020204" charset="-122"/>
            </a:endParaRPr>
          </a:p>
        </p:txBody>
      </p:sp>
      <p:sp>
        <p:nvSpPr>
          <p:cNvPr id="6" name="Rectangle 21"/>
          <p:cNvSpPr>
            <a:spLocks noChangeArrowheads="1"/>
          </p:cNvSpPr>
          <p:nvPr userDrawn="1"/>
        </p:nvSpPr>
        <p:spPr bwMode="auto">
          <a:xfrm>
            <a:off x="10053570" y="6440690"/>
            <a:ext cx="1680012" cy="264221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wrap="none" lIns="80050" tIns="40022" rIns="80050" bIns="40022">
            <a:spAutoFit/>
          </a:bodyPr>
          <a:lstStyle/>
          <a:p>
            <a:pPr defTabSz="80129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1200" dirty="0">
                <a:solidFill>
                  <a:srgbClr val="FFFFFF">
                    <a:lumMod val="85000"/>
                  </a:srgbClr>
                </a:solidFill>
                <a:latin typeface="微软雅黑" panose="020B0503020204020204" charset="-122"/>
              </a:rPr>
              <a:t>Huawei Confidential </a:t>
            </a:r>
          </a:p>
        </p:txBody>
      </p:sp>
    </p:spTree>
    <p:extLst>
      <p:ext uri="{BB962C8B-B14F-4D97-AF65-F5344CB8AC3E}">
        <p14:creationId xmlns:p14="http://schemas.microsoft.com/office/powerpoint/2010/main" val="3462585152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22056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1499" y="469255"/>
            <a:ext cx="11061700" cy="559492"/>
          </a:xfrm>
          <a:prstGeom prst="rect">
            <a:avLst/>
          </a:prstGeom>
        </p:spPr>
        <p:txBody>
          <a:bodyPr lIns="91422" tIns="45710" rIns="91422" bIns="45710"/>
          <a:lstStyle>
            <a:lvl1pPr algn="l">
              <a:defRPr sz="3300" b="1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740921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759" y="99801"/>
            <a:ext cx="10975658" cy="76907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33240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1206" y="336892"/>
            <a:ext cx="10457619" cy="759844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91407" tIns="45703" rIns="91407" bIns="45703" numCol="1" anchor="ctr" anchorCtr="0" compatLnSpc="1">
            <a:prstTxWarp prst="textNoShape">
              <a:avLst/>
            </a:prstTxWarp>
          </a:bodyPr>
          <a:lstStyle>
            <a:lvl1pPr marL="0" indent="0">
              <a:buFont typeface="Arial" pitchFamily="34" charset="0"/>
              <a:buNone/>
              <a:defRPr lang="zh-CN" altLang="en-US" sz="3999" b="0">
                <a:solidFill>
                  <a:schemeClr val="tx2"/>
                </a:solidFill>
                <a:latin typeface="FrutigerNext LT Light" pitchFamily="34" charset="0"/>
                <a:ea typeface="黑体" pitchFamily="49" charset="-122"/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0715748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830912" y="1"/>
            <a:ext cx="10754686" cy="6127354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7442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07796" y="325528"/>
            <a:ext cx="10179583" cy="871739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43899769"/>
      </p:ext>
    </p:extLst>
  </p:cSld>
  <p:clrMapOvr>
    <a:masterClrMapping/>
  </p:clrMapOvr>
  <p:transition advClick="0" advTm="8000">
    <p:fade thruBlk="1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 userDrawn="1"/>
        </p:nvCxnSpPr>
        <p:spPr>
          <a:xfrm>
            <a:off x="120925" y="837506"/>
            <a:ext cx="1195332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标题 1"/>
          <p:cNvSpPr>
            <a:spLocks noGrp="1"/>
          </p:cNvSpPr>
          <p:nvPr>
            <p:ph type="ctrTitle" hasCustomPrompt="1"/>
          </p:nvPr>
        </p:nvSpPr>
        <p:spPr>
          <a:xfrm>
            <a:off x="150001" y="261442"/>
            <a:ext cx="9993315" cy="476034"/>
          </a:xfrm>
        </p:spPr>
        <p:txBody>
          <a:bodyPr>
            <a:norm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altLang="zh-CN" sz="2799" kern="1200" dirty="0" smtClean="0">
                <a:solidFill>
                  <a:schemeClr val="tx1"/>
                </a:solidFill>
                <a:latin typeface="+mj-ea"/>
                <a:ea typeface="+mj-ea"/>
                <a:cs typeface="+mj-cs"/>
              </a:defRPr>
            </a:lvl1pPr>
          </a:lstStyle>
          <a:p>
            <a:r>
              <a:rPr lang="en-US" altLang="zh-CN" dirty="0" smtClean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188876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6" y="170387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859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8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6784186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ctrTitle" hasCustomPrompt="1"/>
          </p:nvPr>
        </p:nvSpPr>
        <p:spPr>
          <a:xfrm>
            <a:off x="913013" y="1154756"/>
            <a:ext cx="9993315" cy="779055"/>
          </a:xfrm>
        </p:spPr>
        <p:txBody>
          <a:bodyPr>
            <a:normAutofit/>
          </a:bodyPr>
          <a:lstStyle>
            <a:lvl1pPr marL="0" marR="0" indent="0" algn="l" defTabSz="121864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599" b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en-US" altLang="zh-CN" dirty="0"/>
              <a:t>Slide Title</a:t>
            </a:r>
          </a:p>
        </p:txBody>
      </p:sp>
      <p:sp>
        <p:nvSpPr>
          <p:cNvPr id="5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913013" y="2133650"/>
            <a:ext cx="9993315" cy="4097592"/>
          </a:xfrm>
        </p:spPr>
        <p:txBody>
          <a:bodyPr>
            <a:normAutofit/>
          </a:bodyPr>
          <a:lstStyle>
            <a:lvl1pPr marL="0" marR="0" indent="0" algn="l" defTabSz="121864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4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609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Headline in Arial Regular 24 - 32 point</a:t>
            </a:r>
          </a:p>
        </p:txBody>
      </p:sp>
    </p:spTree>
    <p:extLst>
      <p:ext uri="{BB962C8B-B14F-4D97-AF65-F5344CB8AC3E}">
        <p14:creationId xmlns:p14="http://schemas.microsoft.com/office/powerpoint/2010/main" val="11887393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29592075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60106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23997055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77888" y="325515"/>
            <a:ext cx="10439400" cy="871739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77888" y="1629154"/>
            <a:ext cx="10439400" cy="41951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1838632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89595" y="261442"/>
            <a:ext cx="11052608" cy="792089"/>
          </a:xfrm>
        </p:spPr>
        <p:txBody>
          <a:bodyPr>
            <a:noAutofit/>
          </a:bodyPr>
          <a:lstStyle>
            <a:lvl1pPr marL="0" marR="0" indent="0" algn="l" defTabSz="12193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99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CN" dirty="0"/>
              <a:t>Headline in Arial Regular 28 point</a:t>
            </a:r>
          </a:p>
        </p:txBody>
      </p:sp>
    </p:spTree>
    <p:extLst>
      <p:ext uri="{BB962C8B-B14F-4D97-AF65-F5344CB8AC3E}">
        <p14:creationId xmlns:p14="http://schemas.microsoft.com/office/powerpoint/2010/main" val="22444404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86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17194058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77888" y="325515"/>
            <a:ext cx="10439400" cy="871739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77888" y="1629154"/>
            <a:ext cx="10439400" cy="41951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2568430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89595" y="261442"/>
            <a:ext cx="11052608" cy="792089"/>
          </a:xfrm>
        </p:spPr>
        <p:txBody>
          <a:bodyPr>
            <a:noAutofit/>
          </a:bodyPr>
          <a:lstStyle>
            <a:lvl1pPr marL="0" marR="0" indent="0" algn="l" defTabSz="12193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99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CN" dirty="0"/>
              <a:t>Headline in Arial Regular 28 point</a:t>
            </a:r>
          </a:p>
        </p:txBody>
      </p:sp>
    </p:spTree>
    <p:extLst>
      <p:ext uri="{BB962C8B-B14F-4D97-AF65-F5344CB8AC3E}">
        <p14:creationId xmlns:p14="http://schemas.microsoft.com/office/powerpoint/2010/main" val="3297680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5" y="170385"/>
            <a:ext cx="11233770" cy="9361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99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387733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8912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32538417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77888" y="325515"/>
            <a:ext cx="10439400" cy="871739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77888" y="1629154"/>
            <a:ext cx="10439400" cy="41951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0216266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89595" y="261442"/>
            <a:ext cx="11052608" cy="792089"/>
          </a:xfrm>
        </p:spPr>
        <p:txBody>
          <a:bodyPr>
            <a:noAutofit/>
          </a:bodyPr>
          <a:lstStyle>
            <a:lvl1pPr marL="0" marR="0" indent="0" algn="l" defTabSz="12193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99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CN" dirty="0"/>
              <a:t>Headline in Arial Regular 28 point</a:t>
            </a:r>
          </a:p>
        </p:txBody>
      </p:sp>
    </p:spTree>
    <p:extLst>
      <p:ext uri="{BB962C8B-B14F-4D97-AF65-F5344CB8AC3E}">
        <p14:creationId xmlns:p14="http://schemas.microsoft.com/office/powerpoint/2010/main" val="15530441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8435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1667807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89595" y="261442"/>
            <a:ext cx="11052608" cy="792089"/>
          </a:xfrm>
        </p:spPr>
        <p:txBody>
          <a:bodyPr>
            <a:noAutofit/>
          </a:bodyPr>
          <a:lstStyle>
            <a:lvl1pPr marL="0" marR="0" indent="0" algn="l" defTabSz="12193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99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CN" dirty="0"/>
              <a:t>Headline in Arial Regular 28 point</a:t>
            </a:r>
          </a:p>
        </p:txBody>
      </p:sp>
    </p:spTree>
    <p:extLst>
      <p:ext uri="{BB962C8B-B14F-4D97-AF65-F5344CB8AC3E}">
        <p14:creationId xmlns:p14="http://schemas.microsoft.com/office/powerpoint/2010/main" val="9778633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41027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42347158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77888" y="325515"/>
            <a:ext cx="10439400" cy="871739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77888" y="1629154"/>
            <a:ext cx="10439400" cy="41951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3890881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41144276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77691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2286537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21918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9464598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75671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24076349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0755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7483971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77888" y="325515"/>
            <a:ext cx="10439400" cy="871739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877888" y="1629154"/>
            <a:ext cx="10439400" cy="41951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26161776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9253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89595" y="261442"/>
            <a:ext cx="11052608" cy="792089"/>
          </a:xfrm>
        </p:spPr>
        <p:txBody>
          <a:bodyPr>
            <a:noAutofit/>
          </a:bodyPr>
          <a:lstStyle>
            <a:lvl1pPr marL="0" marR="0" indent="0" algn="l" defTabSz="12193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99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zh-CN" dirty="0"/>
              <a:t>Headline in Arial Regular 28 point</a:t>
            </a:r>
          </a:p>
        </p:txBody>
      </p:sp>
    </p:spTree>
    <p:extLst>
      <p:ext uri="{BB962C8B-B14F-4D97-AF65-F5344CB8AC3E}">
        <p14:creationId xmlns:p14="http://schemas.microsoft.com/office/powerpoint/2010/main" val="4001191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01645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18817332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61272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18945053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6627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812" y="1502337"/>
            <a:ext cx="10732160" cy="4691545"/>
          </a:xfrm>
          <a:prstGeom prst="rect">
            <a:avLst/>
          </a:prstGeom>
        </p:spPr>
        <p:txBody>
          <a:bodyPr lIns="0" tIns="0" rIns="0" bIns="0"/>
          <a:lstStyle>
            <a:lvl1pPr marL="12372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299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2pPr>
            <a:lvl3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3pPr>
            <a:lvl4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4pPr>
            <a:lvl5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63735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418" y="6357825"/>
            <a:ext cx="2743915" cy="365210"/>
          </a:xfrm>
          <a:prstGeom prst="rect">
            <a:avLst/>
          </a:prstGeom>
        </p:spPr>
        <p:txBody>
          <a:bodyPr/>
          <a:lstStyle/>
          <a:p>
            <a:fld id="{F24738B5-06B5-4F60-9C5C-9EB93DD421F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ea typeface="宋体" pitchFamily="2" charset="-122"/>
              </a:rPr>
              <a:pPr/>
              <a:t>2019/9/16</a:t>
            </a:fld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9652" y="6357825"/>
            <a:ext cx="4115872" cy="365210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2842" y="6357825"/>
            <a:ext cx="2743915" cy="365210"/>
          </a:xfrm>
          <a:prstGeom prst="rect">
            <a:avLst/>
          </a:prstGeom>
        </p:spPr>
        <p:txBody>
          <a:bodyPr/>
          <a:lstStyle/>
          <a:p>
            <a:fld id="{8F095F6B-2232-451B-91BA-5948EA84EA52}" type="slidenum">
              <a:rPr lang="zh-CN" altLang="en-US" smtClean="0">
                <a:solidFill>
                  <a:prstClr val="black">
                    <a:tint val="75000"/>
                  </a:prstClr>
                </a:solidFill>
                <a:ea typeface="宋体" pitchFamily="2" charset="-122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219028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34363523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418" y="6357825"/>
            <a:ext cx="2743915" cy="365210"/>
          </a:xfrm>
          <a:prstGeom prst="rect">
            <a:avLst/>
          </a:prstGeom>
        </p:spPr>
        <p:txBody>
          <a:bodyPr/>
          <a:lstStyle/>
          <a:p>
            <a:fld id="{F24738B5-06B5-4F60-9C5C-9EB93DD421F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ea typeface="宋体" pitchFamily="2" charset="-122"/>
              </a:rPr>
              <a:pPr/>
              <a:t>2019/9/16</a:t>
            </a:fld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9652" y="6357825"/>
            <a:ext cx="4115872" cy="365210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2842" y="6357825"/>
            <a:ext cx="2743915" cy="365210"/>
          </a:xfrm>
          <a:prstGeom prst="rect">
            <a:avLst/>
          </a:prstGeom>
        </p:spPr>
        <p:txBody>
          <a:bodyPr/>
          <a:lstStyle/>
          <a:p>
            <a:fld id="{8F095F6B-2232-451B-91BA-5948EA84EA52}" type="slidenum">
              <a:rPr lang="zh-CN" altLang="en-US" smtClean="0">
                <a:solidFill>
                  <a:prstClr val="black">
                    <a:tint val="75000"/>
                  </a:prstClr>
                </a:solidFill>
                <a:ea typeface="宋体" pitchFamily="2" charset="-122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768736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351" y="4408375"/>
            <a:ext cx="10366443" cy="1362390"/>
          </a:xfrm>
          <a:prstGeom prst="rect">
            <a:avLst/>
          </a:prstGeom>
        </p:spPr>
        <p:txBody>
          <a:bodyPr anchor="t"/>
          <a:lstStyle>
            <a:lvl1pPr algn="l">
              <a:defRPr sz="3429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351" y="2907159"/>
            <a:ext cx="10366443" cy="150121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714"/>
            </a:lvl1pPr>
            <a:lvl2pPr marL="391944" indent="0">
              <a:buNone/>
              <a:defRPr sz="1543"/>
            </a:lvl2pPr>
            <a:lvl3pPr marL="783889" indent="0">
              <a:buNone/>
              <a:defRPr sz="1371"/>
            </a:lvl3pPr>
            <a:lvl4pPr marL="1175833" indent="0">
              <a:buNone/>
              <a:defRPr sz="1200"/>
            </a:lvl4pPr>
            <a:lvl5pPr marL="1567777" indent="0">
              <a:buNone/>
              <a:defRPr sz="1200"/>
            </a:lvl5pPr>
            <a:lvl6pPr marL="1959723" indent="0">
              <a:buNone/>
              <a:defRPr sz="1200"/>
            </a:lvl6pPr>
            <a:lvl7pPr marL="2351667" indent="0">
              <a:buNone/>
              <a:defRPr sz="1200"/>
            </a:lvl7pPr>
            <a:lvl8pPr marL="2743612" indent="0">
              <a:buNone/>
              <a:defRPr sz="1200"/>
            </a:lvl8pPr>
            <a:lvl9pPr marL="3135556" indent="0">
              <a:buNone/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7908179" y="6402283"/>
            <a:ext cx="1409647" cy="110243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9E2E067F-E022-4E24-B1DE-9F298F42E6E2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809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30907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2"/>
          </p:nvPr>
        </p:nvSpPr>
        <p:spPr>
          <a:xfrm>
            <a:off x="609762" y="6357824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599">
                <a:solidFill>
                  <a:schemeClr val="bg1"/>
                </a:solidFill>
              </a:defRPr>
            </a:lvl1pPr>
          </a:lstStyle>
          <a:p>
            <a:pPr defTabSz="913738" fontAlgn="base">
              <a:spcBef>
                <a:spcPct val="0"/>
              </a:spcBef>
              <a:spcAft>
                <a:spcPct val="0"/>
              </a:spcAft>
            </a:pPr>
            <a:fld id="{1A5B2B23-E5F0-44D7-A9FF-4B8E82156B39}" type="datetimeFigureOut">
              <a:rPr lang="zh-CN" altLang="en-US" smtClean="0">
                <a:solidFill>
                  <a:prstClr val="white"/>
                </a:solidFill>
                <a:ea typeface="宋体" charset="-122"/>
              </a:rPr>
              <a:pPr defTabSz="913738" fontAlgn="base">
                <a:spcBef>
                  <a:spcPct val="0"/>
                </a:spcBef>
                <a:spcAft>
                  <a:spcPct val="0"/>
                </a:spcAft>
              </a:pPr>
              <a:t>2019/9/16</a:t>
            </a:fld>
            <a:endParaRPr lang="zh-CN" altLang="en-US">
              <a:solidFill>
                <a:prstClr val="white"/>
              </a:solidFill>
              <a:ea typeface="宋体" charset="-122"/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6" y="6357824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599">
                <a:solidFill>
                  <a:schemeClr val="bg1"/>
                </a:solidFill>
              </a:defRPr>
            </a:lvl1pPr>
          </a:lstStyle>
          <a:p>
            <a:pPr defTabSz="913738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a typeface="宋体" charset="-122"/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4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599">
                <a:solidFill>
                  <a:schemeClr val="bg1"/>
                </a:solidFill>
              </a:defRPr>
            </a:lvl1pPr>
          </a:lstStyle>
          <a:p>
            <a:pPr defTabSz="913738" fontAlgn="base">
              <a:spcBef>
                <a:spcPct val="0"/>
              </a:spcBef>
              <a:spcAft>
                <a:spcPct val="0"/>
              </a:spcAft>
            </a:pPr>
            <a:fld id="{B2563A90-55EF-4D2C-B954-EDF55F24A661}" type="slidenum">
              <a:rPr lang="zh-CN" altLang="en-US" smtClean="0">
                <a:solidFill>
                  <a:prstClr val="white"/>
                </a:solidFill>
                <a:ea typeface="宋体" charset="-122"/>
              </a:rPr>
              <a:pPr defTabSz="9137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prstClr val="white"/>
              </a:solidFill>
              <a:ea typeface="宋体" charset="-122"/>
            </a:endParaRPr>
          </a:p>
        </p:txBody>
      </p:sp>
      <p:sp>
        <p:nvSpPr>
          <p:cNvPr id="5" name="Rectangle 86"/>
          <p:cNvSpPr>
            <a:spLocks noChangeArrowheads="1"/>
          </p:cNvSpPr>
          <p:nvPr userDrawn="1"/>
        </p:nvSpPr>
        <p:spPr bwMode="auto">
          <a:xfrm>
            <a:off x="572744" y="6433428"/>
            <a:ext cx="714179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6713" eaLnBrk="0" hangingPunct="0">
              <a:lnSpc>
                <a:spcPct val="85000"/>
              </a:lnSpc>
            </a:pPr>
            <a:endParaRPr lang="de-DE" sz="1298" dirty="0">
              <a:solidFill>
                <a:prstClr val="white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6713" eaLnBrk="0" hangingPunct="0">
              <a:lnSpc>
                <a:spcPct val="85000"/>
              </a:lnSpc>
            </a:pPr>
            <a:fld id="{E68EC476-442B-4BB7-9603-F1440C241F3D}" type="slidenum">
              <a:rPr lang="de-DE" sz="1298" smtClean="0">
                <a:solidFill>
                  <a:prstClr val="white"/>
                </a:solidFill>
                <a:latin typeface="FrutigerNext LT Light" pitchFamily="34" charset="0"/>
                <a:ea typeface="MS PGothic" pitchFamily="34" charset="-128"/>
              </a:rPr>
              <a:pPr defTabSz="986713" eaLnBrk="0" hangingPunct="0">
                <a:lnSpc>
                  <a:spcPct val="85000"/>
                </a:lnSpc>
              </a:pPr>
              <a:t>‹#›</a:t>
            </a:fld>
            <a:endParaRPr lang="en-GB" sz="1298" dirty="0">
              <a:solidFill>
                <a:prstClr val="white"/>
              </a:solidFill>
              <a:latin typeface="FrutigerNext LT Light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66320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8790" y="727715"/>
            <a:ext cx="11345079" cy="584775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12186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199" baseline="0">
                <a:solidFill>
                  <a:srgbClr val="404040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 marL="609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9923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11200840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812" y="1502337"/>
            <a:ext cx="10732160" cy="4691545"/>
          </a:xfrm>
          <a:prstGeom prst="rect">
            <a:avLst/>
          </a:prstGeom>
        </p:spPr>
        <p:txBody>
          <a:bodyPr lIns="0" tIns="0" rIns="0" bIns="0"/>
          <a:lstStyle>
            <a:lvl1pPr marL="12372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299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2pPr>
            <a:lvl3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3pPr>
            <a:lvl4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4pPr>
            <a:lvl5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8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page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xmlns="" id="{20F7C7B5-0135-F749-B910-7325E96AE70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3485" y="1843515"/>
            <a:ext cx="10120742" cy="3014423"/>
          </a:xfrm>
          <a:prstGeom prst="rect">
            <a:avLst/>
          </a:prstGeom>
        </p:spPr>
        <p:txBody>
          <a:bodyPr tIns="90000" bIns="90000"/>
          <a:lstStyle>
            <a:lvl1pPr marL="412709" indent="-398423">
              <a:lnSpc>
                <a:spcPct val="70000"/>
              </a:lnSpc>
              <a:buFont typeface="+mj-lt"/>
              <a:buAutoNum type="arabicPeriod"/>
              <a:tabLst/>
              <a:defRPr sz="220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12709" indent="-398423">
              <a:buFont typeface="+mj-lt"/>
              <a:buAutoNum type="arabicPeriod"/>
              <a:tabLst/>
              <a:defRPr/>
            </a:lvl2pPr>
            <a:lvl3pPr marL="14286" indent="0">
              <a:buFont typeface="+mj-lt"/>
              <a:buNone/>
              <a:tabLst/>
              <a:defRPr sz="220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14286" indent="0">
              <a:buFont typeface="+mj-lt"/>
              <a:buNone/>
              <a:tabLst/>
              <a:defRPr sz="2200">
                <a:latin typeface="Microsoft YaHei" panose="020B0503020204020204" pitchFamily="34" charset="-122"/>
                <a:ea typeface="Microsoft YaHei" panose="020B0503020204020204" pitchFamily="34" charset="-122"/>
              </a:defRPr>
            </a:lvl4pPr>
            <a:lvl5pPr marL="14286" indent="0">
              <a:buFont typeface="+mj-lt"/>
              <a:buNone/>
              <a:tabLst/>
              <a:defRPr sz="2200">
                <a:latin typeface="Microsoft YaHei" panose="020B0503020204020204" pitchFamily="34" charset="-122"/>
                <a:ea typeface="Microsoft YaHei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altLang="zh-CN" dirty="0"/>
          </a:p>
        </p:txBody>
      </p:sp>
      <p:cxnSp>
        <p:nvCxnSpPr>
          <p:cNvPr id="3" name="直线连接符 14">
            <a:extLst>
              <a:ext uri="{FF2B5EF4-FFF2-40B4-BE49-F238E27FC236}">
                <a16:creationId xmlns:a16="http://schemas.microsoft.com/office/drawing/2014/main" xmlns="" id="{C79E9F57-49BC-DC4A-B843-36D48051C848}"/>
              </a:ext>
            </a:extLst>
          </p:cNvPr>
          <p:cNvCxnSpPr>
            <a:cxnSpLocks/>
          </p:cNvCxnSpPr>
          <p:nvPr userDrawn="1"/>
        </p:nvCxnSpPr>
        <p:spPr>
          <a:xfrm flipH="1">
            <a:off x="1029784" y="1349567"/>
            <a:ext cx="885852" cy="0"/>
          </a:xfrm>
          <a:prstGeom prst="line">
            <a:avLst/>
          </a:prstGeom>
          <a:ln w="28575">
            <a:solidFill>
              <a:srgbClr val="C7000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文本框 16">
            <a:extLst>
              <a:ext uri="{FF2B5EF4-FFF2-40B4-BE49-F238E27FC236}">
                <a16:creationId xmlns:a16="http://schemas.microsoft.com/office/drawing/2014/main" xmlns="" id="{568EC886-2612-1F43-AB51-21A76A078357}"/>
              </a:ext>
            </a:extLst>
          </p:cNvPr>
          <p:cNvSpPr txBox="1"/>
          <p:nvPr userDrawn="1"/>
        </p:nvSpPr>
        <p:spPr>
          <a:xfrm>
            <a:off x="918797" y="630520"/>
            <a:ext cx="1147336" cy="653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600" dirty="0">
                <a:solidFill>
                  <a:srgbClr val="1D1D1A"/>
                </a:solidFill>
                <a:latin typeface="Microsoft YaHei" charset="-122"/>
                <a:cs typeface="Microsoft YaHei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41129157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xmlns="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812" y="1502337"/>
            <a:ext cx="10732160" cy="4691545"/>
          </a:xfrm>
          <a:prstGeom prst="rect">
            <a:avLst/>
          </a:prstGeom>
        </p:spPr>
        <p:txBody>
          <a:bodyPr lIns="0" tIns="0" rIns="0" bIns="0"/>
          <a:lstStyle>
            <a:lvl1pPr marL="12372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299" algn="ctr"/>
              </a:tabLst>
              <a:defRPr sz="1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2pPr>
            <a:lvl3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3pPr>
            <a:lvl4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4pPr>
            <a:lvl5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005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418" y="6357825"/>
            <a:ext cx="2743915" cy="365210"/>
          </a:xfrm>
          <a:prstGeom prst="rect">
            <a:avLst/>
          </a:prstGeom>
        </p:spPr>
        <p:txBody>
          <a:bodyPr/>
          <a:lstStyle/>
          <a:p>
            <a:fld id="{F24738B5-06B5-4F60-9C5C-9EB93DD421F8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  <a:ea typeface="宋体" pitchFamily="2" charset="-122"/>
              </a:rPr>
              <a:pPr/>
              <a:t>2019/9/16</a:t>
            </a:fld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9652" y="6357825"/>
            <a:ext cx="4115872" cy="365210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2842" y="6357825"/>
            <a:ext cx="2743915" cy="365210"/>
          </a:xfrm>
          <a:prstGeom prst="rect">
            <a:avLst/>
          </a:prstGeom>
        </p:spPr>
        <p:txBody>
          <a:bodyPr/>
          <a:lstStyle/>
          <a:p>
            <a:fld id="{8F095F6B-2232-451B-91BA-5948EA84EA52}" type="slidenum">
              <a:rPr lang="zh-CN" altLang="en-US" smtClean="0">
                <a:solidFill>
                  <a:prstClr val="black">
                    <a:tint val="75000"/>
                  </a:prstClr>
                </a:solidFill>
                <a:ea typeface="宋体" pitchFamily="2" charset="-122"/>
              </a:rPr>
              <a:pPr/>
              <a:t>‹#›</a:t>
            </a:fld>
            <a:endParaRPr lang="zh-CN" altLang="en-US">
              <a:solidFill>
                <a:prstClr val="black">
                  <a:tint val="75000"/>
                </a:prstClr>
              </a:solidFill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950076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351" y="4408375"/>
            <a:ext cx="10366443" cy="1362390"/>
          </a:xfrm>
          <a:prstGeom prst="rect">
            <a:avLst/>
          </a:prstGeom>
        </p:spPr>
        <p:txBody>
          <a:bodyPr anchor="t"/>
          <a:lstStyle>
            <a:lvl1pPr algn="l">
              <a:defRPr sz="3429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351" y="2907159"/>
            <a:ext cx="10366443" cy="150121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714"/>
            </a:lvl1pPr>
            <a:lvl2pPr marL="391944" indent="0">
              <a:buNone/>
              <a:defRPr sz="1543"/>
            </a:lvl2pPr>
            <a:lvl3pPr marL="783889" indent="0">
              <a:buNone/>
              <a:defRPr sz="1371"/>
            </a:lvl3pPr>
            <a:lvl4pPr marL="1175833" indent="0">
              <a:buNone/>
              <a:defRPr sz="1200"/>
            </a:lvl4pPr>
            <a:lvl5pPr marL="1567777" indent="0">
              <a:buNone/>
              <a:defRPr sz="1200"/>
            </a:lvl5pPr>
            <a:lvl6pPr marL="1959723" indent="0">
              <a:buNone/>
              <a:defRPr sz="1200"/>
            </a:lvl6pPr>
            <a:lvl7pPr marL="2351667" indent="0">
              <a:buNone/>
              <a:defRPr sz="1200"/>
            </a:lvl7pPr>
            <a:lvl8pPr marL="2743612" indent="0">
              <a:buNone/>
              <a:defRPr sz="1200"/>
            </a:lvl8pPr>
            <a:lvl9pPr marL="3135556" indent="0">
              <a:buNone/>
              <a:defRPr sz="12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xfrm>
            <a:off x="7908179" y="6402283"/>
            <a:ext cx="1409647" cy="1102434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9E2E067F-E022-4E24-B1DE-9F298F42E6E2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526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3"/>
          <p:cNvSpPr>
            <a:spLocks noGrp="1"/>
          </p:cNvSpPr>
          <p:nvPr>
            <p:ph type="dt" sz="half" idx="2"/>
          </p:nvPr>
        </p:nvSpPr>
        <p:spPr>
          <a:xfrm>
            <a:off x="609762" y="6357824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599">
                <a:solidFill>
                  <a:schemeClr val="bg1"/>
                </a:solidFill>
              </a:defRPr>
            </a:lvl1pPr>
          </a:lstStyle>
          <a:p>
            <a:pPr defTabSz="913738" fontAlgn="base">
              <a:spcBef>
                <a:spcPct val="0"/>
              </a:spcBef>
              <a:spcAft>
                <a:spcPct val="0"/>
              </a:spcAft>
            </a:pPr>
            <a:fld id="{1A5B2B23-E5F0-44D7-A9FF-4B8E82156B39}" type="datetimeFigureOut">
              <a:rPr lang="zh-CN" altLang="en-US" smtClean="0">
                <a:solidFill>
                  <a:prstClr val="white"/>
                </a:solidFill>
                <a:ea typeface="宋体" charset="-122"/>
              </a:rPr>
              <a:pPr defTabSz="913738" fontAlgn="base">
                <a:spcBef>
                  <a:spcPct val="0"/>
                </a:spcBef>
                <a:spcAft>
                  <a:spcPct val="0"/>
                </a:spcAft>
              </a:pPr>
              <a:t>2019/9/16</a:t>
            </a:fld>
            <a:endParaRPr lang="zh-CN" altLang="en-US">
              <a:solidFill>
                <a:prstClr val="white"/>
              </a:solidFill>
              <a:ea typeface="宋体" charset="-122"/>
            </a:endParaRPr>
          </a:p>
        </p:txBody>
      </p:sp>
      <p:sp>
        <p:nvSpPr>
          <p:cNvPr id="3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6" y="6357824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599">
                <a:solidFill>
                  <a:schemeClr val="bg1"/>
                </a:solidFill>
              </a:defRPr>
            </a:lvl1pPr>
          </a:lstStyle>
          <a:p>
            <a:pPr defTabSz="913738" fontAlgn="base">
              <a:spcBef>
                <a:spcPct val="0"/>
              </a:spcBef>
              <a:spcAft>
                <a:spcPct val="0"/>
              </a:spcAft>
            </a:pPr>
            <a:endParaRPr lang="zh-CN" altLang="en-US">
              <a:solidFill>
                <a:prstClr val="white"/>
              </a:solidFill>
              <a:ea typeface="宋体" charset="-122"/>
            </a:endParaRPr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4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599">
                <a:solidFill>
                  <a:schemeClr val="bg1"/>
                </a:solidFill>
              </a:defRPr>
            </a:lvl1pPr>
          </a:lstStyle>
          <a:p>
            <a:pPr defTabSz="913738" fontAlgn="base">
              <a:spcBef>
                <a:spcPct val="0"/>
              </a:spcBef>
              <a:spcAft>
                <a:spcPct val="0"/>
              </a:spcAft>
            </a:pPr>
            <a:fld id="{B2563A90-55EF-4D2C-B954-EDF55F24A661}" type="slidenum">
              <a:rPr lang="zh-CN" altLang="en-US" smtClean="0">
                <a:solidFill>
                  <a:prstClr val="white"/>
                </a:solidFill>
                <a:ea typeface="宋体" charset="-122"/>
              </a:rPr>
              <a:pPr defTabSz="91373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zh-CN" altLang="en-US">
              <a:solidFill>
                <a:prstClr val="white"/>
              </a:solidFill>
              <a:ea typeface="宋体" charset="-122"/>
            </a:endParaRPr>
          </a:p>
        </p:txBody>
      </p:sp>
      <p:sp>
        <p:nvSpPr>
          <p:cNvPr id="5" name="Rectangle 86"/>
          <p:cNvSpPr>
            <a:spLocks noChangeArrowheads="1"/>
          </p:cNvSpPr>
          <p:nvPr userDrawn="1"/>
        </p:nvSpPr>
        <p:spPr bwMode="auto">
          <a:xfrm>
            <a:off x="572744" y="6433428"/>
            <a:ext cx="714179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6713" eaLnBrk="0" hangingPunct="0">
              <a:lnSpc>
                <a:spcPct val="85000"/>
              </a:lnSpc>
            </a:pPr>
            <a:endParaRPr lang="de-DE" sz="1298" dirty="0">
              <a:solidFill>
                <a:prstClr val="white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6713" eaLnBrk="0" hangingPunct="0">
              <a:lnSpc>
                <a:spcPct val="85000"/>
              </a:lnSpc>
            </a:pPr>
            <a:fld id="{E68EC476-442B-4BB7-9603-F1440C241F3D}" type="slidenum">
              <a:rPr lang="de-DE" sz="1298" smtClean="0">
                <a:solidFill>
                  <a:prstClr val="white"/>
                </a:solidFill>
                <a:latin typeface="FrutigerNext LT Light" pitchFamily="34" charset="0"/>
                <a:ea typeface="MS PGothic" pitchFamily="34" charset="-128"/>
              </a:rPr>
              <a:pPr defTabSz="986713" eaLnBrk="0" hangingPunct="0">
                <a:lnSpc>
                  <a:spcPct val="85000"/>
                </a:lnSpc>
              </a:pPr>
              <a:t>‹#›</a:t>
            </a:fld>
            <a:endParaRPr lang="en-GB" sz="1298" dirty="0">
              <a:solidFill>
                <a:prstClr val="white"/>
              </a:solidFill>
              <a:latin typeface="FrutigerNext LT Light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23494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58790" y="727715"/>
            <a:ext cx="11345079" cy="584775"/>
          </a:xfrm>
          <a:prstGeom prst="rect">
            <a:avLst/>
          </a:prstGeom>
        </p:spPr>
        <p:txBody>
          <a:bodyPr>
            <a:spAutoFit/>
          </a:bodyPr>
          <a:lstStyle>
            <a:lvl1pPr marL="0" marR="0" indent="0" algn="l" defTabSz="12186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199" baseline="0">
                <a:solidFill>
                  <a:srgbClr val="404040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  <a:lvl2pPr marL="609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6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0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4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1063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9/16/2019</a:t>
            </a:fld>
            <a:endParaRPr lang="en-US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9875" y="6357822"/>
            <a:ext cx="2845541" cy="365210"/>
          </a:xfrm>
          <a:prstGeom prst="rect">
            <a:avLst/>
          </a:prstGeom>
        </p:spPr>
        <p:txBody>
          <a:bodyPr/>
          <a:lstStyle/>
          <a:p>
            <a:fld id="{B10D5614-B734-4280-8F57-1D4947433C97}" type="slidenum">
              <a:rPr lang="en-US" smtClean="0">
                <a:solidFill>
                  <a:srgbClr val="5C5C5C"/>
                </a:solidFill>
              </a:rPr>
              <a:pPr/>
              <a:t>‹#›</a:t>
            </a:fld>
            <a:endParaRPr lang="en-US">
              <a:solidFill>
                <a:srgbClr val="5C5C5C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623555" y="1605170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solidFill>
                <a:srgbClr val="5C5C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731475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30896" y="165138"/>
            <a:ext cx="11333383" cy="1056245"/>
          </a:xfrm>
        </p:spPr>
        <p:txBody>
          <a:bodyPr>
            <a:no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Headline in Arial bold 40 point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30896" y="1501201"/>
            <a:ext cx="11345554" cy="4801111"/>
          </a:xfrm>
        </p:spPr>
        <p:txBody>
          <a:bodyPr>
            <a:normAutofit/>
          </a:bodyPr>
          <a:lstStyle>
            <a:lvl1pPr marL="0" marR="0" indent="0" algn="l" defTabSz="12194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400" baseline="0">
                <a:solidFill>
                  <a:schemeClr val="tx1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/>
              <a:t>Copy text in Arial bold 18-32 point </a:t>
            </a:r>
          </a:p>
        </p:txBody>
      </p:sp>
    </p:spTree>
    <p:extLst>
      <p:ext uri="{BB962C8B-B14F-4D97-AF65-F5344CB8AC3E}">
        <p14:creationId xmlns:p14="http://schemas.microsoft.com/office/powerpoint/2010/main" val="252501390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3200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8A4EAA63-3827-DA40-B921-C01084B9DA87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736812" y="1502337"/>
            <a:ext cx="10732160" cy="4691545"/>
          </a:xfrm>
          <a:prstGeom prst="rect">
            <a:avLst/>
          </a:prstGeom>
        </p:spPr>
        <p:txBody>
          <a:bodyPr lIns="0" tIns="0" rIns="0" bIns="0"/>
          <a:lstStyle>
            <a:lvl1pPr marL="12372" indent="0">
              <a:lnSpc>
                <a:spcPct val="100000"/>
              </a:lnSpc>
              <a:spcBef>
                <a:spcPts val="0"/>
              </a:spcBef>
              <a:buFontTx/>
              <a:buNone/>
              <a:tabLst>
                <a:tab pos="1208299" algn="ctr"/>
              </a:tabLst>
              <a:defRPr sz="1800" baseline="0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2pPr>
            <a:lvl3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3pPr>
            <a:lvl4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4pPr>
            <a:lvl5pPr marL="525797" indent="-171142">
              <a:buFont typeface="Arial" panose="020B0604020202020204" pitchFamily="34" charset="0"/>
              <a:buChar char="•"/>
              <a:tabLst>
                <a:tab pos="1208299" algn="ctr"/>
              </a:tabLst>
              <a:defRPr sz="1299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918190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0"/>
          </p:nvPr>
        </p:nvSpPr>
        <p:spPr>
          <a:xfrm>
            <a:off x="8739189" y="6357822"/>
            <a:ext cx="2846387" cy="366798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buClr>
                <a:srgbClr val="CC9900"/>
              </a:buClr>
              <a:buFont typeface="Wingdings" pitchFamily="2" charset="2"/>
              <a:buChar char="n"/>
              <a:defRPr sz="1100" baseline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387">
              <a:defRPr/>
            </a:pPr>
            <a:r>
              <a:rPr lang="en-US" altLang="zh-CN" smtClean="0">
                <a:solidFill>
                  <a:srgbClr val="666666">
                    <a:lumMod val="50000"/>
                  </a:srgbClr>
                </a:solidFill>
              </a:rPr>
              <a:t>Page</a:t>
            </a:r>
            <a:fld id="{25D80015-83D7-41CC-9700-A3E03726235F}" type="slidenum">
              <a:rPr lang="zh-CN" altLang="en-US" smtClean="0">
                <a:solidFill>
                  <a:srgbClr val="666666">
                    <a:lumMod val="50000"/>
                  </a:srgbClr>
                </a:solidFill>
                <a:latin typeface="ＭＳ Ｐゴシック" pitchFamily="50" charset="-128"/>
              </a:rPr>
              <a:pPr defTabSz="914387">
                <a:defRPr/>
              </a:pPr>
              <a:t>‹#›</a:t>
            </a:fld>
            <a:endParaRPr lang="zh-CN" altLang="en-US">
              <a:solidFill>
                <a:srgbClr val="666666">
                  <a:lumMod val="50000"/>
                </a:srgbClr>
              </a:solidFill>
              <a:latin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1179191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067" y="1710135"/>
            <a:ext cx="10518338" cy="2853398"/>
          </a:xfrm>
          <a:prstGeom prst="rect">
            <a:avLst/>
          </a:prstGeom>
        </p:spPr>
        <p:txBody>
          <a:bodyPr anchor="b"/>
          <a:lstStyle>
            <a:lvl1pPr>
              <a:defRPr sz="5999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2067" y="4590527"/>
            <a:ext cx="10518338" cy="15005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418" y="6357823"/>
            <a:ext cx="2743915" cy="365210"/>
          </a:xfrm>
          <a:prstGeom prst="rect">
            <a:avLst/>
          </a:prstGeom>
        </p:spPr>
        <p:txBody>
          <a:bodyPr/>
          <a:lstStyle/>
          <a:p>
            <a:pPr defTabSz="914387"/>
            <a:fld id="{A8A7116A-5237-2C4B-B56A-BCC53A5BF3E7}" type="datetime1">
              <a:rPr lang="en-US" sz="1800" smtClean="0">
                <a:solidFill>
                  <a:srgbClr val="1D1D1A"/>
                </a:solidFill>
              </a:rPr>
              <a:pPr defTabSz="914387"/>
              <a:t>9/16/2019</a:t>
            </a:fld>
            <a:endParaRPr lang="en-US" sz="1800">
              <a:solidFill>
                <a:srgbClr val="1D1D1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9652" y="6357823"/>
            <a:ext cx="4115872" cy="365210"/>
          </a:xfrm>
          <a:prstGeom prst="rect">
            <a:avLst/>
          </a:prstGeom>
        </p:spPr>
        <p:txBody>
          <a:bodyPr/>
          <a:lstStyle/>
          <a:p>
            <a:pPr defTabSz="914387"/>
            <a:endParaRPr lang="en-US" sz="1800">
              <a:solidFill>
                <a:srgbClr val="1D1D1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2842" y="6357823"/>
            <a:ext cx="2743915" cy="365210"/>
          </a:xfrm>
          <a:prstGeom prst="rect">
            <a:avLst/>
          </a:prstGeom>
        </p:spPr>
        <p:txBody>
          <a:bodyPr/>
          <a:lstStyle/>
          <a:p>
            <a:pPr defTabSz="914387"/>
            <a:fld id="{3765DCCE-BDC2-B440-B035-A5056E73E593}" type="slidenum">
              <a:rPr lang="en-US" sz="1800" smtClean="0">
                <a:solidFill>
                  <a:srgbClr val="1D1D1A"/>
                </a:solidFill>
              </a:rPr>
              <a:pPr defTabSz="914387"/>
              <a:t>‹#›</a:t>
            </a:fld>
            <a:endParaRPr lang="en-US" sz="1800">
              <a:solidFill>
                <a:srgbClr val="1D1D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692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1052" y="274701"/>
            <a:ext cx="10975975" cy="114326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81052" y="1600573"/>
            <a:ext cx="10975975" cy="45270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5685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74702"/>
            <a:ext cx="10975658" cy="114326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kumimoji="1" lang="en-US" altLang="zh-CN" sz="3200" b="1" kern="1200" dirty="0">
                <a:gradFill>
                  <a:gsLst>
                    <a:gs pos="49000">
                      <a:schemeClr val="bg1"/>
                    </a:gs>
                    <a:gs pos="100000">
                      <a:schemeClr val="bg1">
                        <a:lumMod val="65000"/>
                      </a:schemeClr>
                    </a:gs>
                  </a:gsLst>
                  <a:lin ang="54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Arial Unicode MS" pitchFamily="34" charset="-122"/>
                <a:cs typeface="Arial" pitchFamily="34" charset="0"/>
                <a:sym typeface="???? Bold" charset="0"/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US" noProof="1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759" y="6357824"/>
            <a:ext cx="2845540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387">
              <a:defRPr/>
            </a:pPr>
            <a:fld id="{3DA54B3E-C149-4903-A96A-19D9AFB24A19}" type="datetimeFigureOut">
              <a:rPr lang="zh-CN" altLang="en-US" sz="1800" smtClean="0">
                <a:solidFill>
                  <a:prstClr val="white"/>
                </a:solidFill>
              </a:rPr>
              <a:pPr defTabSz="914387">
                <a:defRPr/>
              </a:pPr>
              <a:t>2019/9/16</a:t>
            </a:fld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6685" y="6357824"/>
            <a:ext cx="3861805" cy="3652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387">
              <a:defRPr/>
            </a:pPr>
            <a:endParaRPr lang="zh-CN" altLang="en-US" sz="1800">
              <a:solidFill>
                <a:prstClr val="white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9877" y="6357824"/>
            <a:ext cx="2845540" cy="36521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 defTabSz="914387">
              <a:defRPr/>
            </a:pPr>
            <a:fld id="{DB37C26A-485B-4FAC-BBBF-AA4647D482E3}" type="slidenum">
              <a:rPr lang="zh-CN" altLang="en-US" sz="1800" smtClean="0">
                <a:solidFill>
                  <a:prstClr val="white"/>
                </a:solidFill>
              </a:rPr>
              <a:pPr defTabSz="914387">
                <a:defRPr/>
              </a:pPr>
              <a:t>‹#›</a:t>
            </a:fld>
            <a:endParaRPr lang="zh-CN" alt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74192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55492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15151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2AF307D-40F4-EC4C-9108-79E948007529}"/>
              </a:ext>
            </a:extLst>
          </p:cNvPr>
          <p:cNvSpPr txBox="1"/>
          <p:nvPr userDrawn="1"/>
        </p:nvSpPr>
        <p:spPr>
          <a:xfrm>
            <a:off x="607407" y="1402389"/>
            <a:ext cx="3920523" cy="854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7"/>
            <a:r>
              <a:rPr lang="en-US" sz="4940" dirty="0">
                <a:solidFill>
                  <a:srgbClr val="EBEBEB"/>
                </a:solidFill>
              </a:rPr>
              <a:t>Thank </a:t>
            </a:r>
            <a:r>
              <a:rPr lang="en-US" sz="4940" dirty="0" smtClean="0">
                <a:solidFill>
                  <a:srgbClr val="EBEBEB"/>
                </a:solidFill>
              </a:rPr>
              <a:t>you</a:t>
            </a:r>
            <a:endParaRPr lang="en-US" sz="4940" dirty="0">
              <a:solidFill>
                <a:srgbClr val="EBEBE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194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921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8752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inese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29080" y="456240"/>
            <a:ext cx="10739242" cy="9936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30"/>
              </a:lnSpc>
              <a:spcBef>
                <a:spcPts val="0"/>
              </a:spcBef>
              <a:buNone/>
              <a:defRPr sz="2800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93841" indent="0" algn="ctr">
              <a:buNone/>
              <a:defRPr sz="2598"/>
            </a:lvl2pPr>
            <a:lvl3pPr marL="1187679" indent="0" algn="ctr">
              <a:buNone/>
              <a:defRPr sz="2338"/>
            </a:lvl3pPr>
            <a:lvl4pPr marL="1781521" indent="0" algn="ctr">
              <a:buNone/>
              <a:defRPr sz="2079"/>
            </a:lvl4pPr>
            <a:lvl5pPr marL="2375360" indent="0" algn="ctr">
              <a:buNone/>
              <a:defRPr sz="2079"/>
            </a:lvl5pPr>
            <a:lvl6pPr marL="2969200" indent="0" algn="ctr">
              <a:buNone/>
              <a:defRPr sz="2079"/>
            </a:lvl6pPr>
            <a:lvl7pPr marL="3563040" indent="0" algn="ctr">
              <a:buNone/>
              <a:defRPr sz="2079"/>
            </a:lvl7pPr>
            <a:lvl8pPr marL="4156881" indent="0" algn="ctr">
              <a:buNone/>
              <a:defRPr sz="2079"/>
            </a:lvl8pPr>
            <a:lvl9pPr marL="4750720" indent="0" algn="ctr">
              <a:buNone/>
              <a:defRPr sz="207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05456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08956" y="170393"/>
            <a:ext cx="11233770" cy="936148"/>
          </a:xfrm>
        </p:spPr>
        <p:txBody>
          <a:bodyPr>
            <a:noAutofit/>
          </a:bodyPr>
          <a:lstStyle>
            <a:lvl1pPr marL="0" marR="0" indent="0" algn="l" defTabSz="121907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defRPr>
            </a:lvl1pPr>
          </a:lstStyle>
          <a:p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760195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heme" Target="../theme/theme10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oleObject" Target="../embeddings/oleObject13.bin"/><Relationship Id="rId5" Type="http://schemas.openxmlformats.org/officeDocument/2006/relationships/tags" Target="../tags/tag13.xml"/><Relationship Id="rId4" Type="http://schemas.openxmlformats.org/officeDocument/2006/relationships/vmlDrawing" Target="../drawings/vmlDrawing13.vml"/><Relationship Id="rId9" Type="http://schemas.openxmlformats.org/officeDocument/2006/relationships/image" Target="../media/image4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heme" Target="../theme/theme1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oleObject" Target="../embeddings/oleObject14.bin"/><Relationship Id="rId5" Type="http://schemas.openxmlformats.org/officeDocument/2006/relationships/tags" Target="../tags/tag14.xml"/><Relationship Id="rId4" Type="http://schemas.openxmlformats.org/officeDocument/2006/relationships/vmlDrawing" Target="../drawings/vmlDrawing14.vml"/><Relationship Id="rId9" Type="http://schemas.openxmlformats.org/officeDocument/2006/relationships/image" Target="../media/image4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heme" Target="../theme/theme1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oleObject" Target="../embeddings/oleObject15.bin"/><Relationship Id="rId5" Type="http://schemas.openxmlformats.org/officeDocument/2006/relationships/tags" Target="../tags/tag15.xml"/><Relationship Id="rId4" Type="http://schemas.openxmlformats.org/officeDocument/2006/relationships/vmlDrawing" Target="../drawings/vmlDrawing15.vml"/><Relationship Id="rId9" Type="http://schemas.openxmlformats.org/officeDocument/2006/relationships/image" Target="../media/image4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slideLayout" Target="../slideLayouts/slideLayout49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vmlDrawing" Target="../drawings/vmlDrawing16.vml"/><Relationship Id="rId11" Type="http://schemas.openxmlformats.org/officeDocument/2006/relationships/image" Target="../media/image4.png"/><Relationship Id="rId5" Type="http://schemas.openxmlformats.org/officeDocument/2006/relationships/theme" Target="../theme/theme13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2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heme" Target="../theme/theme14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oleObject" Target="../embeddings/oleObject17.bin"/><Relationship Id="rId5" Type="http://schemas.openxmlformats.org/officeDocument/2006/relationships/tags" Target="../tags/tag17.xml"/><Relationship Id="rId4" Type="http://schemas.openxmlformats.org/officeDocument/2006/relationships/vmlDrawing" Target="../drawings/vmlDrawing17.vml"/><Relationship Id="rId9" Type="http://schemas.openxmlformats.org/officeDocument/2006/relationships/image" Target="../media/image4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heme" Target="../theme/theme15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oleObject" Target="../embeddings/oleObject18.bin"/><Relationship Id="rId5" Type="http://schemas.openxmlformats.org/officeDocument/2006/relationships/tags" Target="../tags/tag18.xml"/><Relationship Id="rId4" Type="http://schemas.openxmlformats.org/officeDocument/2006/relationships/vmlDrawing" Target="../drawings/vmlDrawing18.vml"/><Relationship Id="rId9" Type="http://schemas.openxmlformats.org/officeDocument/2006/relationships/image" Target="../media/image4.pn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theme" Target="../theme/theme1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6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59.xml"/><Relationship Id="rId7" Type="http://schemas.openxmlformats.org/officeDocument/2006/relationships/vmlDrawing" Target="../drawings/vmlDrawing19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17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60.xml"/><Relationship Id="rId9" Type="http://schemas.openxmlformats.org/officeDocument/2006/relationships/oleObject" Target="../embeddings/oleObject19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oleObject" Target="../embeddings/oleObject20.bin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ags" Target="../tags/tag20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0.vml"/><Relationship Id="rId4" Type="http://schemas.openxmlformats.org/officeDocument/2006/relationships/slideLayout" Target="../slideLayouts/slideLayout65.xml"/><Relationship Id="rId9" Type="http://schemas.openxmlformats.org/officeDocument/2006/relationships/theme" Target="../theme/theme18.xml"/><Relationship Id="rId14" Type="http://schemas.openxmlformats.org/officeDocument/2006/relationships/image" Target="../media/image3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vmlDrawing" Target="../drawings/vmlDrawing21.vml"/><Relationship Id="rId7" Type="http://schemas.openxmlformats.org/officeDocument/2006/relationships/image" Target="../media/image3.jpe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tags" Target="../tags/tag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6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7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75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heme" Target="../theme/theme4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vmlDrawing" Target="../drawings/vmlDrawing3.vml"/><Relationship Id="rId9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vmlDrawing" Target="../drawings/vmlDrawing4.vml"/><Relationship Id="rId11" Type="http://schemas.openxmlformats.org/officeDocument/2006/relationships/image" Target="../media/image4.png"/><Relationship Id="rId5" Type="http://schemas.openxmlformats.org/officeDocument/2006/relationships/theme" Target="../theme/theme5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2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9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vmlDrawing" Target="../drawings/vmlDrawing6.vml"/><Relationship Id="rId11" Type="http://schemas.openxmlformats.org/officeDocument/2006/relationships/image" Target="../media/image4.png"/><Relationship Id="rId5" Type="http://schemas.openxmlformats.org/officeDocument/2006/relationships/theme" Target="../theme/theme6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3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vmlDrawing" Target="../drawings/vmlDrawing8.vml"/><Relationship Id="rId11" Type="http://schemas.openxmlformats.org/officeDocument/2006/relationships/image" Target="../media/image4.png"/><Relationship Id="rId5" Type="http://schemas.openxmlformats.org/officeDocument/2006/relationships/theme" Target="../theme/theme7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2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37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10.xml"/><Relationship Id="rId5" Type="http://schemas.openxmlformats.org/officeDocument/2006/relationships/vmlDrawing" Target="../drawings/vmlDrawing10.vml"/><Relationship Id="rId10" Type="http://schemas.openxmlformats.org/officeDocument/2006/relationships/image" Target="../media/image4.png"/><Relationship Id="rId4" Type="http://schemas.openxmlformats.org/officeDocument/2006/relationships/theme" Target="../theme/theme8.xml"/><Relationship Id="rId9" Type="http://schemas.openxmlformats.org/officeDocument/2006/relationships/image" Target="../media/image3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40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2.vml"/><Relationship Id="rId10" Type="http://schemas.openxmlformats.org/officeDocument/2006/relationships/image" Target="../media/image4.png"/><Relationship Id="rId4" Type="http://schemas.openxmlformats.org/officeDocument/2006/relationships/theme" Target="../theme/theme9.xml"/><Relationship Id="rId9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095325" y="6358411"/>
            <a:ext cx="1463276" cy="242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7"/>
            <a:r>
              <a:rPr lang="en-US" sz="974" dirty="0">
                <a:solidFill>
                  <a:srgbClr val="1D1D1B"/>
                </a:solidFill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34036" y="6404288"/>
            <a:ext cx="499664" cy="150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760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cs typeface="Arial" panose="020B0604020202020204" pitchFamily="34" charset="0"/>
              </a:rPr>
              <a:pPr defTabSz="890760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214687" y="2932616"/>
            <a:ext cx="1982658" cy="3935593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:a16="http://schemas.microsoft.com/office/drawing/2014/main" xmlns="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700" b="1" dirty="0">
                    <a:solidFill>
                      <a:srgbClr val="FFFFFF"/>
                    </a:solidFill>
                    <a:cs typeface="Arial" charset="0"/>
                  </a:rPr>
                  <a:t>ANTONE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914387"/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 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:a16="http://schemas.microsoft.com/office/drawing/2014/main" xmlns="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700" b="1" dirty="0">
                    <a:solidFill>
                      <a:srgbClr val="FFFFFF"/>
                    </a:solidFill>
                    <a:cs typeface="Arial" charset="0"/>
                  </a:rPr>
                  <a:t>ANTONE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914387"/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 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:a16="http://schemas.microsoft.com/office/drawing/2014/main" xmlns="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26898" y="2207613"/>
                <a:ext cx="384721" cy="18007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387"/>
                <a:r>
                  <a:rPr kumimoji="1" lang="zh-CN" altLang="en-US" sz="1000" dirty="0">
                    <a:solidFill>
                      <a:srgbClr val="1D1D1A"/>
                    </a:solidFill>
                    <a:latin typeface="Microsoft YaHei" panose="020B0503020204020204" pitchFamily="34" charset="-122"/>
                  </a:rPr>
                  <a:t>品牌色</a:t>
                </a: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642"/>
              <a:ext cx="1982912" cy="3811978"/>
              <a:chOff x="12216278" y="3054642"/>
              <a:chExt cx="1982912" cy="3811978"/>
            </a:xfrm>
          </p:grpSpPr>
          <p:sp>
            <p:nvSpPr>
              <p:cNvPr id="28" name="矩形 12">
                <a:extLst>
                  <a:ext uri="{FF2B5EF4-FFF2-40B4-BE49-F238E27FC236}">
                    <a16:creationId xmlns:a16="http://schemas.microsoft.com/office/drawing/2014/main" xmlns="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234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90/79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:a16="http://schemas.microsoft.com/office/drawing/2014/main" xmlns="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120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0/15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:a16="http://schemas.microsoft.com/office/drawing/2014/main" xmlns="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642"/>
                <a:ext cx="569387" cy="18007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914387"/>
                <a:r>
                  <a:rPr kumimoji="1" lang="zh-CN" altLang="en-US" sz="1000" dirty="0">
                    <a:solidFill>
                      <a:srgbClr val="1D1D1A"/>
                    </a:solidFill>
                    <a:latin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:a16="http://schemas.microsoft.com/office/drawing/2014/main" xmlns="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248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181/60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:a16="http://schemas.microsoft.com/office/drawing/2014/main" xmlns="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235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92/1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:a16="http://schemas.microsoft.com/office/drawing/2014/main" xmlns="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137/137/137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:a16="http://schemas.microsoft.com/office/drawing/2014/main" xmlns="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35/24/21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:a16="http://schemas.microsoft.com/office/drawing/2014/main" xmlns="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 221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221/221</a:t>
                </a:r>
                <a:endParaRPr kumimoji="1" lang="mr-IN" altLang="zh-CN" sz="700" b="1" dirty="0">
                  <a:solidFill>
                    <a:srgbClr val="666666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:a16="http://schemas.microsoft.com/office/drawing/2014/main" xmlns="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233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140/128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:a16="http://schemas.microsoft.com/office/drawing/2014/main" xmlns="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159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0/1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:a16="http://schemas.microsoft.com/office/drawing/2014/main" xmlns="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 245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220/87</a:t>
                </a:r>
                <a:endParaRPr kumimoji="1" lang="mr-IN" altLang="zh-CN" sz="700" b="1" dirty="0">
                  <a:solidFill>
                    <a:srgbClr val="666666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:a16="http://schemas.microsoft.com/office/drawing/2014/main" xmlns="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240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133/0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:a16="http://schemas.microsoft.com/office/drawing/2014/main" xmlns="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181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181/181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:a16="http://schemas.microsoft.com/office/drawing/2014/main" xmlns="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 89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ea typeface="Arial" charset="0"/>
                    <a:cs typeface="Arial" charset="0"/>
                  </a:rPr>
                  <a:t>87/87</a:t>
                </a:r>
                <a:endParaRPr kumimoji="1" lang="mr-IN" altLang="zh-CN" sz="700" b="1" dirty="0">
                  <a:solidFill>
                    <a:srgbClr val="FFFFFF"/>
                  </a:solidFill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:a16="http://schemas.microsoft.com/office/drawing/2014/main" xmlns="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 255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ea typeface="Arial" charset="0"/>
                    <a:cs typeface="Arial" charset="0"/>
                  </a:rPr>
                  <a:t>255/255</a:t>
                </a:r>
                <a:endParaRPr kumimoji="1" lang="mr-IN" altLang="zh-CN" sz="700" b="1" dirty="0">
                  <a:solidFill>
                    <a:srgbClr val="666666"/>
                  </a:solidFill>
                  <a:ea typeface="Arial" charset="0"/>
                  <a:cs typeface="Arial" charset="0"/>
                </a:endParaRPr>
              </a:p>
            </p:txBody>
          </p:sp>
        </p:grpSp>
      </p:grpSp>
      <p:pic>
        <p:nvPicPr>
          <p:cNvPr id="47" name="图片 4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4672" y="6321334"/>
            <a:ext cx="1268910" cy="271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450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</p:sldLayoutIdLst>
  <p:hf hdr="0" ftr="0" dt="0"/>
  <p:txStyles>
    <p:titleStyle>
      <a:lvl1pPr algn="l" defTabSz="1187679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20" indent="-296920" algn="l" defTabSz="1187679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76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60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44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28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12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5996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380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7639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84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679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52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36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20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04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688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072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6502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9" r:id="rId2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08734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3" r:id="rId2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86067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7" r:id="rId2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54117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2" r:id="rId3"/>
    <p:sldLayoutId id="2147483763" r:id="rId4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4080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7" r:id="rId2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88099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1" r:id="rId2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325" y="6358411"/>
            <a:ext cx="1463276" cy="2462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7"/>
            <a:r>
              <a:rPr lang="en-US" sz="1000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036" y="6404288"/>
            <a:ext cx="499664" cy="150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760">
              <a:defRPr/>
            </a:pPr>
            <a:fld id="{C3837181-38C6-AD4F-B8BA-B444770388BB}" type="slidenum">
              <a:rPr lang="en-US" sz="974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760">
                <a:defRPr/>
              </a:pPr>
              <a:t>‹#›</a:t>
            </a:fld>
            <a:endParaRPr lang="en-US" sz="974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214687" y="2932616"/>
            <a:ext cx="1982658" cy="3935593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="" xmlns:a16="http://schemas.microsoft.com/office/drawing/2014/main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914387"/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="" xmlns:a16="http://schemas.microsoft.com/office/drawing/2014/main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914387"/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="" xmlns:a16="http://schemas.microsoft.com/office/drawing/2014/main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26898" y="2207613"/>
                <a:ext cx="384721" cy="18007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914387"/>
                <a:r>
                  <a:rPr kumimoji="1" lang="zh-CN" altLang="en-US" sz="1000" dirty="0" smtClean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品牌色</a:t>
                </a:r>
                <a:endParaRPr kumimoji="1" lang="zh-CN" altLang="en-US" sz="1000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642"/>
              <a:ext cx="1982912" cy="3811978"/>
              <a:chOff x="12216278" y="3054642"/>
              <a:chExt cx="1982912" cy="3811978"/>
            </a:xfrm>
          </p:grpSpPr>
          <p:sp>
            <p:nvSpPr>
              <p:cNvPr id="28" name="矩形 12">
                <a:extLst>
                  <a:ext uri="{FF2B5EF4-FFF2-40B4-BE49-F238E27FC236}">
                    <a16:creationId xmlns="" xmlns:a16="http://schemas.microsoft.com/office/drawing/2014/main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4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0/79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="" xmlns:a16="http://schemas.microsoft.com/office/drawing/2014/main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20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5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="" xmlns:a16="http://schemas.microsoft.com/office/drawing/2014/main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642"/>
                <a:ext cx="569387" cy="18007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914387"/>
                <a:r>
                  <a:rPr kumimoji="1" lang="zh-CN" altLang="en-US" sz="1000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="" xmlns:a16="http://schemas.microsoft.com/office/drawing/2014/main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8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60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="" xmlns:a16="http://schemas.microsoft.com/office/drawing/2014/main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5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2/1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="" xmlns:a16="http://schemas.microsoft.com/office/drawing/2014/main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7/137/137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="" xmlns:a16="http://schemas.microsoft.com/office/drawing/2014/main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35/24/21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="" xmlns:a16="http://schemas.microsoft.com/office/drawing/2014/main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/221</a:t>
                </a:r>
                <a:endParaRPr kumimoji="1" lang="mr-IN" altLang="zh-CN" sz="700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="" xmlns:a16="http://schemas.microsoft.com/office/drawing/2014/main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3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40/128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="" xmlns:a16="http://schemas.microsoft.com/office/drawing/2014/main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59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="" xmlns:a16="http://schemas.microsoft.com/office/drawing/2014/main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45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0/87</a:t>
                </a:r>
                <a:endParaRPr kumimoji="1" lang="mr-IN" altLang="zh-CN" sz="700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="" xmlns:a16="http://schemas.microsoft.com/office/drawing/2014/main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0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3/0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="" xmlns:a16="http://schemas.microsoft.com/office/drawing/2014/main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181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="" xmlns:a16="http://schemas.microsoft.com/office/drawing/2014/main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9</a:t>
                </a:r>
                <a:r>
                  <a:rPr kumimoji="1" lang="mr-IN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7/87</a:t>
                </a:r>
                <a:endParaRPr kumimoji="1" lang="mr-IN" altLang="zh-CN" sz="700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="" xmlns:a16="http://schemas.microsoft.com/office/drawing/2014/main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914387"/>
                <a:r>
                  <a:rPr kumimoji="1" lang="mr-IN" altLang="zh-CN" sz="700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700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</a:t>
                </a:r>
                <a:r>
                  <a:rPr kumimoji="1" lang="mr-IN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700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/255</a:t>
                </a:r>
                <a:endParaRPr kumimoji="1" lang="mr-IN" altLang="zh-CN" sz="700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4671" y="6322594"/>
            <a:ext cx="1268910" cy="27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534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87679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20" indent="-296920" algn="l" defTabSz="1187679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76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60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44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28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12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5996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380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7639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84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679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52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36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20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04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688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072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1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29839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3" r:id="rId2"/>
    <p:sldLayoutId id="2147483784" r:id="rId3"/>
    <p:sldLayoutId id="2147483785" r:id="rId4"/>
    <p:sldLayoutId id="2147483786" r:id="rId5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30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45307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86227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54170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  <p:sldLayoutId id="2147483692" r:id="rId4"/>
    <p:sldLayoutId id="2147483693" r:id="rId5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5151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095325" y="6358411"/>
            <a:ext cx="1463276" cy="242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87"/>
            <a:r>
              <a:rPr lang="en-US" sz="974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34036" y="6404288"/>
            <a:ext cx="499664" cy="150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90760">
              <a:defRPr/>
            </a:pPr>
            <a:fld id="{C3837181-38C6-AD4F-B8BA-B444770388BB}" type="slidenum">
              <a:rPr lang="en-US" sz="974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90760">
                <a:defRPr/>
              </a:pPr>
              <a:t>‹#›</a:t>
            </a:fld>
            <a:endParaRPr lang="en-US" sz="974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Picture 9">
            <a:extLst>
              <a:ext uri="{FF2B5EF4-FFF2-40B4-BE49-F238E27FC236}">
                <a16:creationId xmlns="" xmlns:a16="http://schemas.microsoft.com/office/drawing/2014/main" id="{AB51B4CD-FF7B-4338-85BB-A1D6F6C8B692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1175" y="6327592"/>
            <a:ext cx="1276470" cy="27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720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5" r:id="rId5"/>
    <p:sldLayoutId id="2147483816" r:id="rId6"/>
    <p:sldLayoutId id="2147483817" r:id="rId7"/>
    <p:sldLayoutId id="2147483818" r:id="rId8"/>
    <p:sldLayoutId id="2147483819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87679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920" indent="-296920" algn="l" defTabSz="1187679" rtl="0" eaLnBrk="1" latinLnBrk="0" hangingPunct="1">
        <a:lnSpc>
          <a:spcPct val="90000"/>
        </a:lnSpc>
        <a:spcBef>
          <a:spcPts val="1299"/>
        </a:spcBef>
        <a:buFont typeface="Arial" panose="020B0604020202020204" pitchFamily="34" charset="0"/>
        <a:buChar char="•"/>
        <a:defRPr sz="3636" kern="1200">
          <a:solidFill>
            <a:schemeClr val="tx1"/>
          </a:solidFill>
          <a:latin typeface="+mn-lt"/>
          <a:ea typeface="+mn-ea"/>
          <a:cs typeface="+mn-cs"/>
        </a:defRPr>
      </a:lvl1pPr>
      <a:lvl2pPr marL="89076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2pPr>
      <a:lvl3pPr marL="148460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8" kern="1200">
          <a:solidFill>
            <a:schemeClr val="tx1"/>
          </a:solidFill>
          <a:latin typeface="+mn-lt"/>
          <a:ea typeface="+mn-ea"/>
          <a:cs typeface="+mn-cs"/>
        </a:defRPr>
      </a:lvl3pPr>
      <a:lvl4pPr marL="207844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67228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326612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85996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453800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5047639" indent="-296920" algn="l" defTabSz="1187679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1pPr>
      <a:lvl2pPr marL="59384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2pPr>
      <a:lvl3pPr marL="1187679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3pPr>
      <a:lvl4pPr marL="178152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4pPr>
      <a:lvl5pPr marL="237536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5pPr>
      <a:lvl6pPr marL="296920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6pPr>
      <a:lvl7pPr marL="356304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7pPr>
      <a:lvl8pPr marL="4156881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8pPr>
      <a:lvl9pPr marL="4750720" algn="l" defTabSz="1187679" rtl="0" eaLnBrk="1" latinLnBrk="0" hangingPunct="1">
        <a:defRPr sz="23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14" cstate="email"/>
          <a:stretch>
            <a:fillRect/>
          </a:stretch>
        </p:blipFill>
        <p:spPr>
          <a:xfrm>
            <a:off x="2223" y="794"/>
            <a:ext cx="12192000" cy="6858318"/>
          </a:xfrm>
          <a:prstGeom prst="rect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44"/>
            <a:ext cx="10975658" cy="1143317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648"/>
            <a:ext cx="10975658" cy="452669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8120"/>
            <a:ext cx="2845540" cy="366284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pPr defTabSz="914309"/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 defTabSz="914309"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8120"/>
            <a:ext cx="3861805" cy="366284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pPr defTabSz="914309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8" y="6358120"/>
            <a:ext cx="2845540" cy="366284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pPr defTabSz="914309"/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 defTabSz="914309"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0" name="Rectangle 86"/>
          <p:cNvSpPr>
            <a:spLocks noChangeArrowheads="1"/>
          </p:cNvSpPr>
          <p:nvPr userDrawn="1"/>
        </p:nvSpPr>
        <p:spPr bwMode="auto">
          <a:xfrm>
            <a:off x="11842256" y="6350734"/>
            <a:ext cx="328279" cy="42618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lIns="0" tIns="0" rIns="0" bIns="0"/>
          <a:lstStyle/>
          <a:p>
            <a:pPr defTabSz="987961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anose="020B0403040504020204" pitchFamily="34" charset="0"/>
              <a:ea typeface="MS PGothic" panose="020B0600070205080204" pitchFamily="34" charset="-128"/>
            </a:endParaRPr>
          </a:p>
          <a:p>
            <a:pPr defTabSz="987961" eaLnBrk="0" hangingPunct="0">
              <a:lnSpc>
                <a:spcPct val="85000"/>
              </a:lnSpc>
            </a:pPr>
            <a:fld id="{E68EC476-442B-4BB7-9603-F1440C241F3D}" type="slidenum">
              <a:rPr lang="de-DE" sz="900" smtClean="0">
                <a:solidFill>
                  <a:prstClr val="white">
                    <a:lumMod val="50000"/>
                  </a:prstClr>
                </a:solidFill>
                <a:ea typeface="MS PGothic" panose="020B0600070205080204" pitchFamily="34" charset="-128"/>
                <a:cs typeface="Arial" panose="020B0604020202020204" pitchFamily="34" charset="0"/>
              </a:rPr>
              <a:pPr defTabSz="987961" eaLnBrk="0" hangingPunct="0">
                <a:lnSpc>
                  <a:spcPct val="85000"/>
                </a:lnSpc>
              </a:pPr>
              <a:t>‹#›</a:t>
            </a:fld>
            <a:endParaRPr lang="en-GB" sz="900" dirty="0">
              <a:solidFill>
                <a:prstClr val="white">
                  <a:lumMod val="50000"/>
                </a:prstClr>
              </a:solidFill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318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timing>
    <p:tnLst>
      <p:par>
        <p:cTn id="1" dur="indefinite" restart="never" nodeType="tmRoot"/>
      </p:par>
    </p:tnLst>
  </p:timing>
  <p:txStyles>
    <p:titleStyle>
      <a:lvl1pPr algn="ctr" defTabSz="1219078" rtl="0" eaLnBrk="1" latinLnBrk="0" hangingPunct="1">
        <a:spcBef>
          <a:spcPct val="0"/>
        </a:spcBef>
        <a:buNone/>
        <a:defRPr sz="58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54" indent="-457154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501" indent="-380962" algn="l" defTabSz="1219078" rtl="0" eaLnBrk="1" latinLnBrk="0" hangingPunct="1">
        <a:spcBef>
          <a:spcPct val="20000"/>
        </a:spcBef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213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387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926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369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908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66619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7" r:id="rId2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917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42869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0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184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5" r:id="rId4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04827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9" r:id="rId2"/>
    <p:sldLayoutId id="2147483740" r:id="rId3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3" descr="D:\2015 MWC KV\2015 MWC PPT\新建文件夹\09.jp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" t="581" r="661" b="6092"/>
          <a:stretch>
            <a:fillRect/>
          </a:stretch>
        </p:blipFill>
        <p:spPr bwMode="auto">
          <a:xfrm>
            <a:off x="0" y="0"/>
            <a:ext cx="12195175" cy="6859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09759" y="275230"/>
            <a:ext cx="10975658" cy="1143265"/>
          </a:xfrm>
          <a:prstGeom prst="rect">
            <a:avLst/>
          </a:prstGeom>
        </p:spPr>
        <p:txBody>
          <a:bodyPr vert="horz" lIns="121944" tIns="60972" rIns="121944" bIns="60972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759" y="1600571"/>
            <a:ext cx="10975658" cy="4526481"/>
          </a:xfrm>
          <a:prstGeom prst="rect">
            <a:avLst/>
          </a:prstGeom>
        </p:spPr>
        <p:txBody>
          <a:bodyPr vert="horz" lIns="121944" tIns="60972" rIns="121944" bIns="60972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609759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1A5B2B23-E5F0-44D7-A9FF-4B8E82156B39}" type="datetimeFigureOut">
              <a:rPr lang="zh-CN" altLang="en-US" smtClean="0">
                <a:solidFill>
                  <a:prstClr val="black"/>
                </a:solidFill>
              </a:rPr>
              <a:pPr/>
              <a:t>2019/9/16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166685" y="6357823"/>
            <a:ext cx="3861805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600">
                <a:solidFill>
                  <a:schemeClr val="tx1"/>
                </a:solidFill>
              </a:defRPr>
            </a:lvl1pPr>
          </a:lstStyle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739875" y="6357823"/>
            <a:ext cx="2845541" cy="366267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r">
              <a:defRPr sz="1600">
                <a:solidFill>
                  <a:schemeClr val="tx1"/>
                </a:solidFill>
              </a:defRPr>
            </a:lvl1pPr>
          </a:lstStyle>
          <a:p>
            <a:fld id="{B2563A90-55EF-4D2C-B954-EDF55F24A661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86"/>
          <p:cNvSpPr>
            <a:spLocks noChangeArrowheads="1"/>
          </p:cNvSpPr>
          <p:nvPr userDrawn="1"/>
        </p:nvSpPr>
        <p:spPr bwMode="auto">
          <a:xfrm>
            <a:off x="572741" y="6433425"/>
            <a:ext cx="714178" cy="42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988112" eaLnBrk="0" hangingPunct="0">
              <a:lnSpc>
                <a:spcPct val="85000"/>
              </a:lnSpc>
            </a:pPr>
            <a:endParaRPr lang="de-DE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  <a:p>
            <a:pPr defTabSz="988112" eaLnBrk="0" hangingPunct="0">
              <a:lnSpc>
                <a:spcPct val="85000"/>
              </a:lnSpc>
            </a:pPr>
            <a:fld id="{E68EC476-442B-4BB7-9603-F1440C241F3D}" type="slidenum">
              <a:rPr lang="de-DE" sz="1300" smtClean="0">
                <a:solidFill>
                  <a:prstClr val="black"/>
                </a:solidFill>
                <a:latin typeface="FrutigerNext LT Light" pitchFamily="34" charset="0"/>
                <a:ea typeface="MS PGothic" pitchFamily="34" charset="-128"/>
              </a:rPr>
              <a:pPr defTabSz="988112" eaLnBrk="0" hangingPunct="0">
                <a:lnSpc>
                  <a:spcPct val="85000"/>
                </a:lnSpc>
              </a:pPr>
              <a:t>‹#›</a:t>
            </a:fld>
            <a:endParaRPr lang="en-GB" sz="1300" dirty="0">
              <a:solidFill>
                <a:prstClr val="black"/>
              </a:solidFill>
              <a:latin typeface="FrutigerNext LT Light" pitchFamily="34" charset="0"/>
              <a:ea typeface="MS PGothic" pitchFamily="34" charset="-128"/>
            </a:endParaRPr>
          </a:p>
        </p:txBody>
      </p:sp>
      <p:pic>
        <p:nvPicPr>
          <p:cNvPr id="9" name="Picture 2" descr="\\BCHIEF-SEVER180\Bchief-server-180\共享\华为\2015\6月\D-201506292-MSSD MKT建设专项费用-蔡笑雨\文件\用图\ISPA logo-06.pn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526743" y="6297638"/>
            <a:ext cx="1055544" cy="4168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2863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5" r:id="rId3"/>
  </p:sldLayoutIdLst>
  <p:txStyles>
    <p:titleStyle>
      <a:lvl1pPr algn="ctr" defTabSz="1219444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91" indent="-457291" algn="l" defTabSz="1219444" rtl="0" eaLnBrk="1" latinLnBrk="0" hangingPunct="1">
        <a:spcBef>
          <a:spcPct val="20000"/>
        </a:spcBef>
        <a:buFont typeface="Arial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990798" indent="-381076" algn="l" defTabSz="1219444" rtl="0" eaLnBrk="1" latinLnBrk="0" hangingPunct="1">
        <a:spcBef>
          <a:spcPct val="20000"/>
        </a:spcBef>
        <a:buFont typeface="Arial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524305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4027" indent="-304861" algn="l" defTabSz="1219444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749" indent="-304861" algn="l" defTabSz="1219444" rtl="0" eaLnBrk="1" latinLnBrk="0" hangingPunct="1">
        <a:spcBef>
          <a:spcPct val="20000"/>
        </a:spcBef>
        <a:buFont typeface="Arial" pitchFamily="34" charset="0"/>
        <a:buChar char="»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标题 1"/>
          <p:cNvSpPr txBox="1">
            <a:spLocks/>
          </p:cNvSpPr>
          <p:nvPr/>
        </p:nvSpPr>
        <p:spPr>
          <a:xfrm>
            <a:off x="1588" y="1773610"/>
            <a:ext cx="12198273" cy="2029342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 algn="ctr" defTabSz="609681" rtl="0" eaLnBrk="1" latinLnBrk="0" hangingPunct="1">
              <a:spcBef>
                <a:spcPct val="0"/>
              </a:spcBef>
              <a:buNone/>
              <a:defRPr sz="5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zh-CN" sz="5000" dirty="0" smtClean="0">
                <a:solidFill>
                  <a:srgbClr val="FFFFFF"/>
                </a:solidFill>
                <a:cs typeface="Tahoma" pitchFamily="34" charset="0"/>
              </a:rPr>
              <a:t>Наземная Транзитная Магистраль</a:t>
            </a:r>
            <a:endParaRPr lang="en-US" altLang="zh-CN" sz="5000" dirty="0" smtClean="0">
              <a:solidFill>
                <a:srgbClr val="FFFFFF"/>
              </a:solidFill>
              <a:cs typeface="Tahoma" pitchFamily="34" charset="0"/>
            </a:endParaRPr>
          </a:p>
          <a:p>
            <a:r>
              <a:rPr lang="ru-RU" altLang="zh-CN" sz="3600" dirty="0" smtClean="0">
                <a:solidFill>
                  <a:srgbClr val="FFFFFF"/>
                </a:solidFill>
                <a:cs typeface="Tahoma" pitchFamily="34" charset="0"/>
              </a:rPr>
              <a:t>Инфраструктура Цифровых Сервисов</a:t>
            </a:r>
            <a:endParaRPr lang="en-US" altLang="zh-CN" sz="3600" dirty="0">
              <a:solidFill>
                <a:srgbClr val="FFFFFF"/>
              </a:solidFill>
              <a:cs typeface="Tahoma" pitchFamily="34" charset="0"/>
            </a:endParaRPr>
          </a:p>
        </p:txBody>
      </p:sp>
      <p:sp>
        <p:nvSpPr>
          <p:cNvPr id="12" name="矩形 6"/>
          <p:cNvSpPr/>
          <p:nvPr/>
        </p:nvSpPr>
        <p:spPr>
          <a:xfrm>
            <a:off x="2204698" y="3717827"/>
            <a:ext cx="7340316" cy="17234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7102">
              <a:lnSpc>
                <a:spcPct val="150000"/>
              </a:lnSpc>
              <a:defRPr/>
            </a:pPr>
            <a:r>
              <a:rPr lang="ru-RU" altLang="zh-CN" sz="2800" kern="0" dirty="0" smtClean="0">
                <a:solidFill>
                  <a:srgbClr val="FFFFFF">
                    <a:lumMod val="95000"/>
                  </a:srgbClr>
                </a:solidFill>
              </a:rPr>
              <a:t>Дмитрий Полпуденко</a:t>
            </a:r>
            <a:endParaRPr lang="en-US" altLang="zh-CN" sz="2800" kern="0" dirty="0">
              <a:solidFill>
                <a:srgbClr val="FFFFFF">
                  <a:lumMod val="95000"/>
                </a:srgbClr>
              </a:solidFill>
            </a:endParaRPr>
          </a:p>
          <a:p>
            <a:pPr algn="ctr" defTabSz="1217102">
              <a:lnSpc>
                <a:spcPct val="150000"/>
              </a:lnSpc>
              <a:defRPr/>
            </a:pPr>
            <a:r>
              <a:rPr lang="ru-RU" altLang="zh-CN" sz="2133" kern="0" smtClean="0">
                <a:solidFill>
                  <a:srgbClr val="FFFFFF">
                    <a:lumMod val="95000"/>
                  </a:srgbClr>
                </a:solidFill>
              </a:rPr>
              <a:t>Исполнительный менеджер по стратегическому маркетингу</a:t>
            </a:r>
            <a:endParaRPr lang="en-US" altLang="zh-CN" sz="2133" kern="0" dirty="0">
              <a:solidFill>
                <a:srgbClr val="FFFFFF">
                  <a:lumMod val="95000"/>
                </a:srgbClr>
              </a:solidFill>
            </a:endParaRPr>
          </a:p>
          <a:p>
            <a:pPr algn="ctr" defTabSz="1217102">
              <a:lnSpc>
                <a:spcPct val="150000"/>
              </a:lnSpc>
              <a:defRPr/>
            </a:pPr>
            <a:r>
              <a:rPr lang="en-US" altLang="zh-CN" sz="2133" kern="0" dirty="0" smtClean="0">
                <a:solidFill>
                  <a:srgbClr val="FFFFFF">
                    <a:lumMod val="95000"/>
                  </a:srgbClr>
                </a:solidFill>
              </a:rPr>
              <a:t>16 </a:t>
            </a:r>
            <a:r>
              <a:rPr lang="ru-RU" altLang="zh-CN" sz="2133" kern="0" dirty="0" smtClean="0">
                <a:solidFill>
                  <a:srgbClr val="FFFFFF">
                    <a:lumMod val="95000"/>
                  </a:srgbClr>
                </a:solidFill>
              </a:rPr>
              <a:t>Сентября</a:t>
            </a:r>
            <a:r>
              <a:rPr lang="en-US" altLang="zh-CN" sz="2133" kern="0" dirty="0" smtClean="0">
                <a:solidFill>
                  <a:srgbClr val="FFFFFF">
                    <a:lumMod val="95000"/>
                  </a:srgbClr>
                </a:solidFill>
              </a:rPr>
              <a:t> </a:t>
            </a:r>
            <a:r>
              <a:rPr lang="en-US" altLang="zh-CN" sz="2133" kern="0" dirty="0">
                <a:solidFill>
                  <a:srgbClr val="FFFFFF">
                    <a:lumMod val="95000"/>
                  </a:srgbClr>
                </a:solidFill>
              </a:rPr>
              <a:t>2019</a:t>
            </a:r>
          </a:p>
        </p:txBody>
      </p:sp>
      <p:cxnSp>
        <p:nvCxnSpPr>
          <p:cNvPr id="13" name="直接连接符 65"/>
          <p:cNvCxnSpPr/>
          <p:nvPr/>
        </p:nvCxnSpPr>
        <p:spPr>
          <a:xfrm>
            <a:off x="4873451" y="4941962"/>
            <a:ext cx="2016224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3860915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06"/>
          <p:cNvSpPr txBox="1">
            <a:spLocks/>
          </p:cNvSpPr>
          <p:nvPr/>
        </p:nvSpPr>
        <p:spPr>
          <a:xfrm>
            <a:off x="340575" y="236132"/>
            <a:ext cx="11112156" cy="510088"/>
          </a:xfrm>
          <a:prstGeom prst="rect">
            <a:avLst/>
          </a:prstGeom>
        </p:spPr>
        <p:txBody>
          <a:bodyPr anchor="ctr"/>
          <a:lstStyle>
            <a:lvl1pPr algn="l" defTabSz="118767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715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8844">
              <a:lnSpc>
                <a:spcPct val="100000"/>
              </a:lnSpc>
              <a:defRPr/>
            </a:pPr>
            <a:r>
              <a:rPr kumimoji="1" lang="ru-RU" altLang="zh-CN" sz="2800" b="1" smtClean="0">
                <a:solidFill>
                  <a:prstClr val="white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Интернет-Трафик </a:t>
            </a:r>
            <a:r>
              <a:rPr kumimoji="1" lang="ru-RU" altLang="zh-CN" sz="2800" b="1" dirty="0" smtClean="0">
                <a:solidFill>
                  <a:prstClr val="white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Растет Экспоненциально</a:t>
            </a:r>
            <a:endParaRPr kumimoji="1" lang="en-US" altLang="en-US" sz="2800" b="1" dirty="0">
              <a:solidFill>
                <a:prstClr val="white"/>
              </a:solidFill>
              <a:latin typeface="Arial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" name="Rectangle 25"/>
          <p:cNvSpPr/>
          <p:nvPr/>
        </p:nvSpPr>
        <p:spPr>
          <a:xfrm>
            <a:off x="3669313" y="5359461"/>
            <a:ext cx="507675" cy="403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2"/>
              </a:solidFill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601377" y="3934540"/>
            <a:ext cx="5178351" cy="2561044"/>
            <a:chOff x="6719422" y="2669246"/>
            <a:chExt cx="3920551" cy="2082093"/>
          </a:xfrm>
        </p:grpSpPr>
        <p:pic>
          <p:nvPicPr>
            <p:cNvPr id="7" name="Picture 5"/>
            <p:cNvPicPr>
              <a:picLocks noChangeAspect="1" noChangeArrowheads="1"/>
            </p:cNvPicPr>
            <p:nvPr/>
          </p:nvPicPr>
          <p:blipFill rotWithShape="1">
            <a:blip r:embed="rId2" cstate="print"/>
            <a:srcRect l="2984" t="15802" b="5650"/>
            <a:stretch/>
          </p:blipFill>
          <p:spPr bwMode="auto">
            <a:xfrm>
              <a:off x="6719422" y="2669246"/>
              <a:ext cx="3920551" cy="20820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矩形 38"/>
            <p:cNvSpPr/>
            <p:nvPr/>
          </p:nvSpPr>
          <p:spPr>
            <a:xfrm>
              <a:off x="7212679" y="2774514"/>
              <a:ext cx="3006030" cy="20281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marL="0" lvl="1" algn="ctr" defTabSz="768111">
                <a:lnSpc>
                  <a:spcPct val="120000"/>
                </a:lnSpc>
                <a:buClr>
                  <a:prstClr val="white"/>
                </a:buClr>
                <a:buSzPct val="100000"/>
                <a:defRPr/>
              </a:pPr>
              <a:endParaRPr lang="zh-CN" altLang="en-US" sz="1200" b="1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9" name="Oval 1"/>
            <p:cNvSpPr/>
            <p:nvPr/>
          </p:nvSpPr>
          <p:spPr>
            <a:xfrm>
              <a:off x="7057113" y="3273376"/>
              <a:ext cx="1114697" cy="644434"/>
            </a:xfrm>
            <a:prstGeom prst="ellipse">
              <a:avLst/>
            </a:prstGeom>
            <a:solidFill>
              <a:schemeClr val="accent4">
                <a:lumMod val="20000"/>
                <a:lumOff val="80000"/>
                <a:alpha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Oval 20"/>
            <p:cNvSpPr/>
            <p:nvPr/>
          </p:nvSpPr>
          <p:spPr>
            <a:xfrm>
              <a:off x="8365752" y="3072390"/>
              <a:ext cx="859972" cy="510082"/>
            </a:xfrm>
            <a:prstGeom prst="ellipse">
              <a:avLst/>
            </a:prstGeom>
            <a:solidFill>
              <a:schemeClr val="accent4">
                <a:lumMod val="20000"/>
                <a:lumOff val="80000"/>
                <a:alpha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Oval 21"/>
            <p:cNvSpPr/>
            <p:nvPr/>
          </p:nvSpPr>
          <p:spPr>
            <a:xfrm>
              <a:off x="9655078" y="3327431"/>
              <a:ext cx="865903" cy="65031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  <a:alpha val="50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Left-Right Arrow 2"/>
            <p:cNvSpPr/>
            <p:nvPr/>
          </p:nvSpPr>
          <p:spPr>
            <a:xfrm rot="1353273">
              <a:off x="9229947" y="3401497"/>
              <a:ext cx="426839" cy="169137"/>
            </a:xfrm>
            <a:prstGeom prst="left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aphicFrame>
        <p:nvGraphicFramePr>
          <p:cNvPr id="23" name="图表 22"/>
          <p:cNvGraphicFramePr/>
          <p:nvPr>
            <p:extLst>
              <p:ext uri="{D42A27DB-BD31-4B8C-83A1-F6EECF244321}">
                <p14:modId xmlns:p14="http://schemas.microsoft.com/office/powerpoint/2010/main" val="4068850633"/>
              </p:ext>
            </p:extLst>
          </p:nvPr>
        </p:nvGraphicFramePr>
        <p:xfrm>
          <a:off x="601377" y="1454454"/>
          <a:ext cx="3790202" cy="1777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图表 23"/>
          <p:cNvGraphicFramePr/>
          <p:nvPr>
            <p:extLst>
              <p:ext uri="{D42A27DB-BD31-4B8C-83A1-F6EECF244321}">
                <p14:modId xmlns:p14="http://schemas.microsoft.com/office/powerpoint/2010/main" val="2630116682"/>
              </p:ext>
            </p:extLst>
          </p:nvPr>
        </p:nvGraphicFramePr>
        <p:xfrm>
          <a:off x="4496321" y="1502042"/>
          <a:ext cx="3690320" cy="18242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5" name="图表 24"/>
          <p:cNvGraphicFramePr/>
          <p:nvPr>
            <p:extLst>
              <p:ext uri="{D42A27DB-BD31-4B8C-83A1-F6EECF244321}">
                <p14:modId xmlns:p14="http://schemas.microsoft.com/office/powerpoint/2010/main" val="1421104788"/>
              </p:ext>
            </p:extLst>
          </p:nvPr>
        </p:nvGraphicFramePr>
        <p:xfrm>
          <a:off x="8291383" y="1622192"/>
          <a:ext cx="3887755" cy="16100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340575" y="1240660"/>
            <a:ext cx="11743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zh-CN" sz="1100" b="1" dirty="0" smtClean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Терабит/сек</a:t>
            </a:r>
            <a:endParaRPr lang="en-US" altLang="zh-CN" sz="1100" b="1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1200808" y="904802"/>
            <a:ext cx="20372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1800" b="1" dirty="0" smtClean="0">
                <a:solidFill>
                  <a:schemeClr val="tx2"/>
                </a:solidFill>
              </a:rPr>
              <a:t>Интернет Сервисы</a:t>
            </a:r>
            <a:endParaRPr lang="zh-CN" altLang="en-US" sz="1800" b="1" dirty="0"/>
          </a:p>
        </p:txBody>
      </p:sp>
      <p:sp>
        <p:nvSpPr>
          <p:cNvPr id="30" name="矩形 29"/>
          <p:cNvSpPr/>
          <p:nvPr/>
        </p:nvSpPr>
        <p:spPr>
          <a:xfrm>
            <a:off x="8061001" y="893293"/>
            <a:ext cx="37802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1800" b="1" dirty="0" smtClean="0">
                <a:solidFill>
                  <a:schemeClr val="tx2"/>
                </a:solidFill>
              </a:rPr>
              <a:t>Корпоративные Облачные Сервисы</a:t>
            </a:r>
            <a:endParaRPr lang="zh-CN" altLang="en-US" sz="1800" b="1" dirty="0"/>
          </a:p>
        </p:txBody>
      </p:sp>
      <p:sp>
        <p:nvSpPr>
          <p:cNvPr id="31" name="矩形 30"/>
          <p:cNvSpPr/>
          <p:nvPr/>
        </p:nvSpPr>
        <p:spPr>
          <a:xfrm>
            <a:off x="601377" y="3467705"/>
            <a:ext cx="51783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zh-CN" sz="1800" b="1" dirty="0" smtClean="0">
                <a:solidFill>
                  <a:schemeClr val="tx2"/>
                </a:solidFill>
              </a:rPr>
              <a:t>Размещение Глобальных Дата-Центров</a:t>
            </a:r>
            <a:endParaRPr lang="zh-CN" altLang="en-US" sz="1800" b="1" dirty="0">
              <a:solidFill>
                <a:schemeClr val="tx2"/>
              </a:solidFill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4697183" y="904802"/>
            <a:ext cx="26417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zh-CN" sz="1800" b="1" dirty="0" smtClean="0">
                <a:solidFill>
                  <a:schemeClr val="tx2"/>
                </a:solidFill>
              </a:rPr>
              <a:t>Трансграничный Трафик</a:t>
            </a:r>
            <a:endParaRPr lang="zh-CN" altLang="en-US" sz="1800" b="1" dirty="0"/>
          </a:p>
        </p:txBody>
      </p:sp>
      <p:graphicFrame>
        <p:nvGraphicFramePr>
          <p:cNvPr id="34" name="图表 3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155221"/>
              </p:ext>
            </p:extLst>
          </p:nvPr>
        </p:nvGraphicFramePr>
        <p:xfrm>
          <a:off x="6602584" y="3949077"/>
          <a:ext cx="4898732" cy="2561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矩形 34"/>
          <p:cNvSpPr/>
          <p:nvPr/>
        </p:nvSpPr>
        <p:spPr>
          <a:xfrm>
            <a:off x="6602584" y="3513874"/>
            <a:ext cx="4912360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zh-CN" sz="1800" b="1" dirty="0" smtClean="0">
                <a:solidFill>
                  <a:schemeClr val="tx2"/>
                </a:solidFill>
              </a:rPr>
              <a:t>Трафик Европа - Азия</a:t>
            </a:r>
            <a:r>
              <a:rPr lang="en-US" altLang="zh-CN" sz="1800" b="1" dirty="0" smtClean="0">
                <a:solidFill>
                  <a:schemeClr val="tx2"/>
                </a:solidFill>
              </a:rPr>
              <a:t>, </a:t>
            </a:r>
            <a:r>
              <a:rPr kumimoji="1" lang="en-US" altLang="zh-CN" sz="2000" b="1" dirty="0" smtClean="0">
                <a:solidFill>
                  <a:schemeClr val="accent4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CAGR </a:t>
            </a:r>
            <a:r>
              <a:rPr kumimoji="1" lang="en-US" altLang="zh-CN" sz="2000" b="1" dirty="0">
                <a:solidFill>
                  <a:schemeClr val="accent4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40%</a:t>
            </a:r>
            <a:endParaRPr kumimoji="1" lang="en-US" altLang="en-US" sz="2000" b="1" dirty="0">
              <a:solidFill>
                <a:schemeClr val="accent4"/>
              </a:solidFill>
              <a:latin typeface="Arial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algn="ctr"/>
            <a:endParaRPr lang="zh-CN" altLang="en-US" sz="1800" b="1" dirty="0">
              <a:solidFill>
                <a:schemeClr val="tx2"/>
              </a:solidFill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2432264" y="3992165"/>
            <a:ext cx="31902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kumimoji="1" lang="en-US" altLang="zh-CN" sz="18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~</a:t>
            </a:r>
            <a:r>
              <a:rPr kumimoji="1" lang="en-US" altLang="zh-CN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00</a:t>
            </a:r>
            <a:r>
              <a:rPr kumimoji="1" lang="ru-RU" altLang="zh-CN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Терабит/сек</a:t>
            </a:r>
            <a:r>
              <a:rPr kumimoji="1" lang="en-US" altLang="zh-CN" sz="1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1" lang="en-US" altLang="zh-CN" sz="16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@ 2025</a:t>
            </a:r>
            <a:endParaRPr kumimoji="1" lang="en-US" altLang="en-US" sz="18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9" name="文本框 1"/>
          <p:cNvSpPr txBox="1"/>
          <p:nvPr/>
        </p:nvSpPr>
        <p:spPr>
          <a:xfrm>
            <a:off x="4109992" y="1281240"/>
            <a:ext cx="11743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zh-CN" sz="1100" b="1" dirty="0" smtClean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Терабит/сек</a:t>
            </a:r>
            <a:endParaRPr lang="en-US" altLang="zh-CN" sz="1100" b="1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3" name="文本框 1"/>
          <p:cNvSpPr txBox="1"/>
          <p:nvPr/>
        </p:nvSpPr>
        <p:spPr>
          <a:xfrm>
            <a:off x="7875289" y="1281240"/>
            <a:ext cx="11743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zh-CN" sz="1100" b="1" dirty="0" smtClean="0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Терабит/сек</a:t>
            </a:r>
            <a:endParaRPr lang="en-US" altLang="zh-CN" sz="1100" b="1" dirty="0" smtClean="0">
              <a:solidFill>
                <a:srgbClr val="FFFFFF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5398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图表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4082902"/>
              </p:ext>
            </p:extLst>
          </p:nvPr>
        </p:nvGraphicFramePr>
        <p:xfrm>
          <a:off x="216568" y="3526971"/>
          <a:ext cx="11723385" cy="2729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569" y="962879"/>
            <a:ext cx="11723385" cy="281530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2988263" y="1829806"/>
            <a:ext cx="5339307" cy="1199773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矩形 6"/>
          <p:cNvSpPr/>
          <p:nvPr/>
        </p:nvSpPr>
        <p:spPr>
          <a:xfrm>
            <a:off x="4806826" y="6342165"/>
            <a:ext cx="3020438" cy="246197"/>
          </a:xfrm>
          <a:prstGeom prst="rect">
            <a:avLst/>
          </a:prstGeom>
        </p:spPr>
        <p:txBody>
          <a:bodyPr wrap="square" lIns="91416" tIns="45708" rIns="91416" bIns="45708">
            <a:spAutoFit/>
          </a:bodyPr>
          <a:lstStyle/>
          <a:p>
            <a:r>
              <a:rPr lang="ru-RU" altLang="zh-CN" sz="10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Источник данных</a:t>
            </a:r>
            <a:r>
              <a:rPr lang="en-US" altLang="zh-CN" sz="10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</a:t>
            </a:r>
            <a:r>
              <a:rPr lang="en-US" altLang="zh-CN" sz="1000" dirty="0" err="1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legeography</a:t>
            </a:r>
            <a:r>
              <a:rPr lang="en-US" altLang="zh-CN" sz="10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(2018)</a:t>
            </a:r>
            <a:endParaRPr lang="en-US" altLang="zh-CN" sz="1000" b="1" kern="0" dirty="0">
              <a:solidFill>
                <a:schemeClr val="tx2"/>
              </a:solidFill>
              <a:latin typeface="华文细黑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736373" y="4218539"/>
            <a:ext cx="2528607" cy="2038234"/>
          </a:xfrm>
          <a:prstGeom prst="rect">
            <a:avLst/>
          </a:prstGeom>
          <a:noFill/>
          <a:ln w="254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矩形 11"/>
          <p:cNvSpPr/>
          <p:nvPr/>
        </p:nvSpPr>
        <p:spPr>
          <a:xfrm>
            <a:off x="216569" y="214279"/>
            <a:ext cx="117233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ru-RU" altLang="zh-CN" sz="2800" b="1" dirty="0" smtClean="0">
                <a:solidFill>
                  <a:prstClr val="white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Транзитная Сеть – Фундамент Цифровых Сервисов Региона</a:t>
            </a:r>
            <a:endParaRPr kumimoji="1" lang="en-US" sz="2800" b="1" dirty="0">
              <a:solidFill>
                <a:prstClr val="white"/>
              </a:solidFill>
              <a:latin typeface="Arial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16569" y="3941540"/>
            <a:ext cx="4964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 smtClean="0"/>
              <a:t>Kbps</a:t>
            </a:r>
            <a:endParaRPr lang="en-US" sz="1400" b="1" dirty="0"/>
          </a:p>
        </p:txBody>
      </p:sp>
      <p:cxnSp>
        <p:nvCxnSpPr>
          <p:cNvPr id="14" name="直接连接符 13"/>
          <p:cNvCxnSpPr/>
          <p:nvPr/>
        </p:nvCxnSpPr>
        <p:spPr>
          <a:xfrm>
            <a:off x="3264980" y="5464631"/>
            <a:ext cx="8339190" cy="10893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/>
          <p:cNvCxnSpPr/>
          <p:nvPr/>
        </p:nvCxnSpPr>
        <p:spPr>
          <a:xfrm>
            <a:off x="11604170" y="5464631"/>
            <a:ext cx="0" cy="488181"/>
          </a:xfrm>
          <a:prstGeom prst="straightConnector1">
            <a:avLst/>
          </a:prstGeom>
          <a:ln>
            <a:solidFill>
              <a:schemeClr val="accent4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图片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1015" y="2670463"/>
            <a:ext cx="2718939" cy="1107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157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91440" y="275517"/>
            <a:ext cx="121037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ru-RU" b="1" dirty="0" smtClean="0">
                <a:solidFill>
                  <a:prstClr val="white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Наземная Транзитная Сеть : 3 Вертикальных и 3 Горизонтальных Участка</a:t>
            </a:r>
            <a:endParaRPr kumimoji="1" lang="en-US" b="1" dirty="0">
              <a:solidFill>
                <a:prstClr val="white"/>
              </a:solidFill>
              <a:latin typeface="Arial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430352" y="860738"/>
            <a:ext cx="5450667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Сравнение С Подводным Кабелем</a:t>
            </a:r>
            <a:endParaRPr 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altLang="zh-CN" sz="1200" b="1" dirty="0" smtClean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Евразийская Наземная Сеть может подключить к Интернет больше стран, не имеющих выхода к морю, и обеспечить их высокой скоростью подключения к глобальной сети. </a:t>
            </a:r>
            <a:endParaRPr lang="en-US" altLang="zh-CN" sz="1200" b="1" dirty="0" smtClean="0">
              <a:solidFill>
                <a:srgbClr val="FFFFFF"/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Короче маршрут</a:t>
            </a:r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ru-RU" sz="1200" b="1" dirty="0" smtClean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ниже задержка сигнала</a:t>
            </a:r>
            <a:r>
              <a:rPr lang="en-US" sz="1200" b="1" dirty="0" smtClean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, </a:t>
            </a:r>
            <a:r>
              <a:rPr lang="ru-RU" sz="1200" b="1" dirty="0" smtClean="0">
                <a:solidFill>
                  <a:srgbClr val="FFFFFF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быстрее время выхода на рынок.</a:t>
            </a:r>
            <a:endParaRPr lang="en-US" sz="1200" b="1" dirty="0" smtClean="0">
              <a:solidFill>
                <a:srgbClr val="FFFFFF"/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Ниже себестоимость </a:t>
            </a:r>
            <a:r>
              <a:rPr 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amp; </a:t>
            </a:r>
            <a:r>
              <a:rPr lang="ru-RU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лучше </a:t>
            </a:r>
            <a:r>
              <a:rPr 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OI (</a:t>
            </a:r>
            <a:r>
              <a:rPr lang="ru-RU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возврат на инвестиции)</a:t>
            </a:r>
            <a:endParaRPr lang="en-US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430352" y="3151526"/>
            <a:ext cx="11395302" cy="3222900"/>
            <a:chOff x="635000" y="1060432"/>
            <a:chExt cx="10981280" cy="3025363"/>
          </a:xfrm>
        </p:grpSpPr>
        <p:grpSp>
          <p:nvGrpSpPr>
            <p:cNvPr id="5" name="组合 48"/>
            <p:cNvGrpSpPr/>
            <p:nvPr/>
          </p:nvGrpSpPr>
          <p:grpSpPr>
            <a:xfrm>
              <a:off x="635000" y="1060432"/>
              <a:ext cx="10981280" cy="3025363"/>
              <a:chOff x="539552" y="1131589"/>
              <a:chExt cx="6192688" cy="2880320"/>
            </a:xfrm>
          </p:grpSpPr>
          <p:pic>
            <p:nvPicPr>
              <p:cNvPr id="8" name="Picture 8"/>
              <p:cNvPicPr>
                <a:picLocks noChangeAspect="1" noChangeArrowheads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 bwMode="auto">
              <a:xfrm>
                <a:off x="539552" y="1131589"/>
                <a:ext cx="6192688" cy="2880320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</p:spPr>
          </p:pic>
          <p:sp>
            <p:nvSpPr>
              <p:cNvPr id="9" name="任意多边形 18"/>
              <p:cNvSpPr/>
              <p:nvPr/>
            </p:nvSpPr>
            <p:spPr bwMode="auto">
              <a:xfrm>
                <a:off x="3822853" y="1584593"/>
                <a:ext cx="1685581" cy="894202"/>
              </a:xfrm>
              <a:custGeom>
                <a:avLst/>
                <a:gdLst>
                  <a:gd name="connsiteX0" fmla="*/ 1685581 w 1685581"/>
                  <a:gd name="connsiteY0" fmla="*/ 894202 h 894202"/>
                  <a:gd name="connsiteX1" fmla="*/ 1564395 w 1685581"/>
                  <a:gd name="connsiteY1" fmla="*/ 541662 h 894202"/>
                  <a:gd name="connsiteX2" fmla="*/ 1476260 w 1685581"/>
                  <a:gd name="connsiteY2" fmla="*/ 431494 h 894202"/>
                  <a:gd name="connsiteX3" fmla="*/ 1344058 w 1685581"/>
                  <a:gd name="connsiteY3" fmla="*/ 376409 h 894202"/>
                  <a:gd name="connsiteX4" fmla="*/ 1134737 w 1685581"/>
                  <a:gd name="connsiteY4" fmla="*/ 211156 h 894202"/>
                  <a:gd name="connsiteX5" fmla="*/ 947451 w 1685581"/>
                  <a:gd name="connsiteY5" fmla="*/ 123021 h 894202"/>
                  <a:gd name="connsiteX6" fmla="*/ 616945 w 1685581"/>
                  <a:gd name="connsiteY6" fmla="*/ 56920 h 894202"/>
                  <a:gd name="connsiteX7" fmla="*/ 275422 w 1685581"/>
                  <a:gd name="connsiteY7" fmla="*/ 12853 h 894202"/>
                  <a:gd name="connsiteX8" fmla="*/ 132202 w 1685581"/>
                  <a:gd name="connsiteY8" fmla="*/ 1836 h 894202"/>
                  <a:gd name="connsiteX9" fmla="*/ 0 w 1685581"/>
                  <a:gd name="connsiteY9" fmla="*/ 1836 h 894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5581" h="894202">
                    <a:moveTo>
                      <a:pt x="1685581" y="894202"/>
                    </a:moveTo>
                    <a:cubicBezTo>
                      <a:pt x="1642431" y="756491"/>
                      <a:pt x="1599282" y="618780"/>
                      <a:pt x="1564395" y="541662"/>
                    </a:cubicBezTo>
                    <a:cubicBezTo>
                      <a:pt x="1529508" y="464544"/>
                      <a:pt x="1512983" y="459036"/>
                      <a:pt x="1476260" y="431494"/>
                    </a:cubicBezTo>
                    <a:cubicBezTo>
                      <a:pt x="1439537" y="403952"/>
                      <a:pt x="1400978" y="413132"/>
                      <a:pt x="1344058" y="376409"/>
                    </a:cubicBezTo>
                    <a:cubicBezTo>
                      <a:pt x="1287138" y="339686"/>
                      <a:pt x="1200838" y="253387"/>
                      <a:pt x="1134737" y="211156"/>
                    </a:cubicBezTo>
                    <a:cubicBezTo>
                      <a:pt x="1068636" y="168925"/>
                      <a:pt x="1033749" y="148727"/>
                      <a:pt x="947451" y="123021"/>
                    </a:cubicBezTo>
                    <a:cubicBezTo>
                      <a:pt x="861153" y="97315"/>
                      <a:pt x="728950" y="75281"/>
                      <a:pt x="616945" y="56920"/>
                    </a:cubicBezTo>
                    <a:cubicBezTo>
                      <a:pt x="504940" y="38559"/>
                      <a:pt x="356212" y="22034"/>
                      <a:pt x="275422" y="12853"/>
                    </a:cubicBezTo>
                    <a:cubicBezTo>
                      <a:pt x="194632" y="3672"/>
                      <a:pt x="178106" y="3672"/>
                      <a:pt x="132202" y="1836"/>
                    </a:cubicBezTo>
                    <a:cubicBezTo>
                      <a:pt x="86298" y="0"/>
                      <a:pt x="43149" y="918"/>
                      <a:pt x="0" y="1836"/>
                    </a:cubicBezTo>
                  </a:path>
                </a:pathLst>
              </a:cu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1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Calibri" panose="020F0502020204030204"/>
                  <a:ea typeface="SimSun" pitchFamily="2" charset="-122"/>
                </a:endParaRPr>
              </a:p>
            </p:txBody>
          </p:sp>
          <p:sp>
            <p:nvSpPr>
              <p:cNvPr id="10" name="任意多边形 19"/>
              <p:cNvSpPr/>
              <p:nvPr/>
            </p:nvSpPr>
            <p:spPr bwMode="auto">
              <a:xfrm>
                <a:off x="936074" y="1514952"/>
                <a:ext cx="4815170" cy="856922"/>
              </a:xfrm>
              <a:custGeom>
                <a:avLst/>
                <a:gdLst>
                  <a:gd name="connsiteX0" fmla="*/ 4781320 w 4781320"/>
                  <a:gd name="connsiteY0" fmla="*/ 833609 h 833609"/>
                  <a:gd name="connsiteX1" fmla="*/ 4461831 w 4781320"/>
                  <a:gd name="connsiteY1" fmla="*/ 514119 h 833609"/>
                  <a:gd name="connsiteX2" fmla="*/ 4263528 w 4781320"/>
                  <a:gd name="connsiteY2" fmla="*/ 414968 h 833609"/>
                  <a:gd name="connsiteX3" fmla="*/ 4197426 w 4781320"/>
                  <a:gd name="connsiteY3" fmla="*/ 381917 h 833609"/>
                  <a:gd name="connsiteX4" fmla="*/ 4065224 w 4781320"/>
                  <a:gd name="connsiteY4" fmla="*/ 337850 h 833609"/>
                  <a:gd name="connsiteX5" fmla="*/ 3955055 w 4781320"/>
                  <a:gd name="connsiteY5" fmla="*/ 304799 h 833609"/>
                  <a:gd name="connsiteX6" fmla="*/ 3822853 w 4781320"/>
                  <a:gd name="connsiteY6" fmla="*/ 238698 h 833609"/>
                  <a:gd name="connsiteX7" fmla="*/ 3558448 w 4781320"/>
                  <a:gd name="connsiteY7" fmla="*/ 172597 h 833609"/>
                  <a:gd name="connsiteX8" fmla="*/ 3051672 w 4781320"/>
                  <a:gd name="connsiteY8" fmla="*/ 161580 h 833609"/>
                  <a:gd name="connsiteX9" fmla="*/ 2655065 w 4781320"/>
                  <a:gd name="connsiteY9" fmla="*/ 84462 h 833609"/>
                  <a:gd name="connsiteX10" fmla="*/ 2324559 w 4781320"/>
                  <a:gd name="connsiteY10" fmla="*/ 51411 h 833609"/>
                  <a:gd name="connsiteX11" fmla="*/ 2049137 w 4781320"/>
                  <a:gd name="connsiteY11" fmla="*/ 7344 h 833609"/>
                  <a:gd name="connsiteX12" fmla="*/ 1872867 w 4781320"/>
                  <a:gd name="connsiteY12" fmla="*/ 7344 h 833609"/>
                  <a:gd name="connsiteX13" fmla="*/ 1630496 w 4781320"/>
                  <a:gd name="connsiteY13" fmla="*/ 40394 h 833609"/>
                  <a:gd name="connsiteX14" fmla="*/ 1123720 w 4781320"/>
                  <a:gd name="connsiteY14" fmla="*/ 95479 h 833609"/>
                  <a:gd name="connsiteX15" fmla="*/ 837282 w 4781320"/>
                  <a:gd name="connsiteY15" fmla="*/ 73445 h 833609"/>
                  <a:gd name="connsiteX16" fmla="*/ 462708 w 4781320"/>
                  <a:gd name="connsiteY16" fmla="*/ 117512 h 833609"/>
                  <a:gd name="connsiteX17" fmla="*/ 165253 w 4781320"/>
                  <a:gd name="connsiteY17" fmla="*/ 227681 h 833609"/>
                  <a:gd name="connsiteX18" fmla="*/ 0 w 4781320"/>
                  <a:gd name="connsiteY18" fmla="*/ 392934 h 833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781320" h="833608">
                    <a:moveTo>
                      <a:pt x="4781320" y="833609"/>
                    </a:moveTo>
                    <a:cubicBezTo>
                      <a:pt x="4664725" y="708750"/>
                      <a:pt x="4548130" y="583892"/>
                      <a:pt x="4461831" y="514119"/>
                    </a:cubicBezTo>
                    <a:cubicBezTo>
                      <a:pt x="4375532" y="444346"/>
                      <a:pt x="4263528" y="414968"/>
                      <a:pt x="4263528" y="414968"/>
                    </a:cubicBezTo>
                    <a:cubicBezTo>
                      <a:pt x="4219461" y="392934"/>
                      <a:pt x="4230477" y="394770"/>
                      <a:pt x="4197426" y="381917"/>
                    </a:cubicBezTo>
                    <a:cubicBezTo>
                      <a:pt x="4164375" y="369064"/>
                      <a:pt x="4105619" y="350703"/>
                      <a:pt x="4065224" y="337850"/>
                    </a:cubicBezTo>
                    <a:cubicBezTo>
                      <a:pt x="4024829" y="324997"/>
                      <a:pt x="3995450" y="321324"/>
                      <a:pt x="3955055" y="304799"/>
                    </a:cubicBezTo>
                    <a:cubicBezTo>
                      <a:pt x="3914660" y="288274"/>
                      <a:pt x="3888954" y="260732"/>
                      <a:pt x="3822853" y="238698"/>
                    </a:cubicBezTo>
                    <a:cubicBezTo>
                      <a:pt x="3756752" y="216664"/>
                      <a:pt x="3686978" y="185450"/>
                      <a:pt x="3558448" y="172597"/>
                    </a:cubicBezTo>
                    <a:cubicBezTo>
                      <a:pt x="3429918" y="159744"/>
                      <a:pt x="3202236" y="176269"/>
                      <a:pt x="3051672" y="161580"/>
                    </a:cubicBezTo>
                    <a:cubicBezTo>
                      <a:pt x="2901108" y="146891"/>
                      <a:pt x="2776250" y="102823"/>
                      <a:pt x="2655065" y="84462"/>
                    </a:cubicBezTo>
                    <a:cubicBezTo>
                      <a:pt x="2533880" y="66101"/>
                      <a:pt x="2425547" y="64264"/>
                      <a:pt x="2324559" y="51411"/>
                    </a:cubicBezTo>
                    <a:cubicBezTo>
                      <a:pt x="2223571" y="38558"/>
                      <a:pt x="2124419" y="14688"/>
                      <a:pt x="2049137" y="7344"/>
                    </a:cubicBezTo>
                    <a:cubicBezTo>
                      <a:pt x="1973855" y="0"/>
                      <a:pt x="1942641" y="1836"/>
                      <a:pt x="1872867" y="7344"/>
                    </a:cubicBezTo>
                    <a:cubicBezTo>
                      <a:pt x="1803094" y="12852"/>
                      <a:pt x="1630496" y="40394"/>
                      <a:pt x="1630496" y="40394"/>
                    </a:cubicBezTo>
                    <a:cubicBezTo>
                      <a:pt x="1505638" y="55083"/>
                      <a:pt x="1255922" y="89971"/>
                      <a:pt x="1123720" y="95479"/>
                    </a:cubicBezTo>
                    <a:cubicBezTo>
                      <a:pt x="991518" y="100988"/>
                      <a:pt x="947451" y="69773"/>
                      <a:pt x="837282" y="73445"/>
                    </a:cubicBezTo>
                    <a:cubicBezTo>
                      <a:pt x="727113" y="77117"/>
                      <a:pt x="574713" y="91806"/>
                      <a:pt x="462708" y="117512"/>
                    </a:cubicBezTo>
                    <a:cubicBezTo>
                      <a:pt x="350703" y="143218"/>
                      <a:pt x="242371" y="181777"/>
                      <a:pt x="165253" y="227681"/>
                    </a:cubicBezTo>
                    <a:cubicBezTo>
                      <a:pt x="88135" y="273585"/>
                      <a:pt x="44067" y="333259"/>
                      <a:pt x="0" y="392934"/>
                    </a:cubicBezTo>
                  </a:path>
                </a:pathLst>
              </a:custGeom>
              <a:noFill/>
              <a:ln w="38100" cap="flat" cmpd="sng" algn="ctr">
                <a:solidFill>
                  <a:srgbClr val="0000FF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1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Calibri" panose="020F0502020204030204"/>
                  <a:ea typeface="SimSun" pitchFamily="2" charset="-122"/>
                </a:endParaRPr>
              </a:p>
            </p:txBody>
          </p:sp>
          <p:sp>
            <p:nvSpPr>
              <p:cNvPr id="11" name="任意多边形 20"/>
              <p:cNvSpPr/>
              <p:nvPr/>
            </p:nvSpPr>
            <p:spPr bwMode="auto">
              <a:xfrm>
                <a:off x="875554" y="1839352"/>
                <a:ext cx="4875690" cy="1080644"/>
              </a:xfrm>
              <a:custGeom>
                <a:avLst/>
                <a:gdLst>
                  <a:gd name="connsiteX0" fmla="*/ 4594034 w 4594034"/>
                  <a:gd name="connsiteY0" fmla="*/ 451691 h 466380"/>
                  <a:gd name="connsiteX1" fmla="*/ 4043190 w 4594034"/>
                  <a:gd name="connsiteY1" fmla="*/ 462708 h 466380"/>
                  <a:gd name="connsiteX2" fmla="*/ 3723701 w 4594034"/>
                  <a:gd name="connsiteY2" fmla="*/ 429658 h 466380"/>
                  <a:gd name="connsiteX3" fmla="*/ 3580482 w 4594034"/>
                  <a:gd name="connsiteY3" fmla="*/ 396607 h 466380"/>
                  <a:gd name="connsiteX4" fmla="*/ 3415229 w 4594034"/>
                  <a:gd name="connsiteY4" fmla="*/ 352540 h 466380"/>
                  <a:gd name="connsiteX5" fmla="*/ 3238959 w 4594034"/>
                  <a:gd name="connsiteY5" fmla="*/ 220337 h 466380"/>
                  <a:gd name="connsiteX6" fmla="*/ 2798284 w 4594034"/>
                  <a:gd name="connsiteY6" fmla="*/ 154236 h 466380"/>
                  <a:gd name="connsiteX7" fmla="*/ 2456761 w 4594034"/>
                  <a:gd name="connsiteY7" fmla="*/ 154236 h 466380"/>
                  <a:gd name="connsiteX8" fmla="*/ 2379643 w 4594034"/>
                  <a:gd name="connsiteY8" fmla="*/ 77118 h 466380"/>
                  <a:gd name="connsiteX9" fmla="*/ 2258458 w 4594034"/>
                  <a:gd name="connsiteY9" fmla="*/ 44067 h 466380"/>
                  <a:gd name="connsiteX10" fmla="*/ 2071171 w 4594034"/>
                  <a:gd name="connsiteY10" fmla="*/ 11017 h 466380"/>
                  <a:gd name="connsiteX11" fmla="*/ 1872867 w 4594034"/>
                  <a:gd name="connsiteY11" fmla="*/ 11017 h 466380"/>
                  <a:gd name="connsiteX12" fmla="*/ 1608463 w 4594034"/>
                  <a:gd name="connsiteY12" fmla="*/ 11017 h 466380"/>
                  <a:gd name="connsiteX13" fmla="*/ 1233889 w 4594034"/>
                  <a:gd name="connsiteY13" fmla="*/ 0 h 466380"/>
                  <a:gd name="connsiteX14" fmla="*/ 914400 w 4594034"/>
                  <a:gd name="connsiteY14" fmla="*/ 11017 h 466380"/>
                  <a:gd name="connsiteX15" fmla="*/ 539826 w 4594034"/>
                  <a:gd name="connsiteY15" fmla="*/ 11017 h 466380"/>
                  <a:gd name="connsiteX16" fmla="*/ 330506 w 4594034"/>
                  <a:gd name="connsiteY16" fmla="*/ 55084 h 466380"/>
                  <a:gd name="connsiteX17" fmla="*/ 88135 w 4594034"/>
                  <a:gd name="connsiteY17" fmla="*/ 88135 h 466380"/>
                  <a:gd name="connsiteX18" fmla="*/ 0 w 4594034"/>
                  <a:gd name="connsiteY18" fmla="*/ 44067 h 466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594034" h="466380">
                    <a:moveTo>
                      <a:pt x="4594034" y="451691"/>
                    </a:moveTo>
                    <a:cubicBezTo>
                      <a:pt x="4391139" y="459035"/>
                      <a:pt x="4188245" y="466380"/>
                      <a:pt x="4043190" y="462708"/>
                    </a:cubicBezTo>
                    <a:cubicBezTo>
                      <a:pt x="3898135" y="459036"/>
                      <a:pt x="3800819" y="440675"/>
                      <a:pt x="3723701" y="429658"/>
                    </a:cubicBezTo>
                    <a:cubicBezTo>
                      <a:pt x="3646583" y="418641"/>
                      <a:pt x="3631894" y="409460"/>
                      <a:pt x="3580482" y="396607"/>
                    </a:cubicBezTo>
                    <a:cubicBezTo>
                      <a:pt x="3529070" y="383754"/>
                      <a:pt x="3472150" y="381918"/>
                      <a:pt x="3415229" y="352540"/>
                    </a:cubicBezTo>
                    <a:cubicBezTo>
                      <a:pt x="3358309" y="323162"/>
                      <a:pt x="3341783" y="253388"/>
                      <a:pt x="3238959" y="220337"/>
                    </a:cubicBezTo>
                    <a:cubicBezTo>
                      <a:pt x="3136135" y="187286"/>
                      <a:pt x="2928650" y="165253"/>
                      <a:pt x="2798284" y="154236"/>
                    </a:cubicBezTo>
                    <a:cubicBezTo>
                      <a:pt x="2667918" y="143219"/>
                      <a:pt x="2526534" y="167089"/>
                      <a:pt x="2456761" y="154236"/>
                    </a:cubicBezTo>
                    <a:cubicBezTo>
                      <a:pt x="2386988" y="141383"/>
                      <a:pt x="2412693" y="95479"/>
                      <a:pt x="2379643" y="77118"/>
                    </a:cubicBezTo>
                    <a:cubicBezTo>
                      <a:pt x="2346593" y="58757"/>
                      <a:pt x="2309870" y="55084"/>
                      <a:pt x="2258458" y="44067"/>
                    </a:cubicBezTo>
                    <a:cubicBezTo>
                      <a:pt x="2207046" y="33050"/>
                      <a:pt x="2135436" y="16525"/>
                      <a:pt x="2071171" y="11017"/>
                    </a:cubicBezTo>
                    <a:cubicBezTo>
                      <a:pt x="2006906" y="5509"/>
                      <a:pt x="1872867" y="11017"/>
                      <a:pt x="1872867" y="11017"/>
                    </a:cubicBezTo>
                    <a:cubicBezTo>
                      <a:pt x="1795749" y="11017"/>
                      <a:pt x="1714959" y="12853"/>
                      <a:pt x="1608463" y="11017"/>
                    </a:cubicBezTo>
                    <a:cubicBezTo>
                      <a:pt x="1501967" y="9181"/>
                      <a:pt x="1349566" y="0"/>
                      <a:pt x="1233889" y="0"/>
                    </a:cubicBezTo>
                    <a:cubicBezTo>
                      <a:pt x="1118212" y="0"/>
                      <a:pt x="1030077" y="9181"/>
                      <a:pt x="914400" y="11017"/>
                    </a:cubicBezTo>
                    <a:cubicBezTo>
                      <a:pt x="798723" y="12853"/>
                      <a:pt x="637142" y="3673"/>
                      <a:pt x="539826" y="11017"/>
                    </a:cubicBezTo>
                    <a:cubicBezTo>
                      <a:pt x="442510" y="18362"/>
                      <a:pt x="405788" y="42231"/>
                      <a:pt x="330506" y="55084"/>
                    </a:cubicBezTo>
                    <a:cubicBezTo>
                      <a:pt x="255224" y="67937"/>
                      <a:pt x="143219" y="89971"/>
                      <a:pt x="88135" y="88135"/>
                    </a:cubicBezTo>
                    <a:cubicBezTo>
                      <a:pt x="33051" y="86299"/>
                      <a:pt x="29378" y="55084"/>
                      <a:pt x="0" y="44067"/>
                    </a:cubicBezTo>
                  </a:path>
                </a:pathLst>
              </a:custGeom>
              <a:noFill/>
              <a:ln w="38100" cap="flat" cmpd="sng" algn="ctr">
                <a:solidFill>
                  <a:srgbClr val="0000FF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1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Calibri" panose="020F0502020204030204"/>
                  <a:ea typeface="SimSun" pitchFamily="2" charset="-122"/>
                </a:endParaRPr>
              </a:p>
            </p:txBody>
          </p:sp>
          <p:sp>
            <p:nvSpPr>
              <p:cNvPr id="12" name="任意多边形 21"/>
              <p:cNvSpPr/>
              <p:nvPr/>
            </p:nvSpPr>
            <p:spPr bwMode="auto">
              <a:xfrm>
                <a:off x="1024256" y="1974945"/>
                <a:ext cx="3426961" cy="580194"/>
              </a:xfrm>
              <a:custGeom>
                <a:avLst/>
                <a:gdLst>
                  <a:gd name="connsiteX0" fmla="*/ 4638102 w 4638102"/>
                  <a:gd name="connsiteY0" fmla="*/ 980501 h 980501"/>
                  <a:gd name="connsiteX1" fmla="*/ 4417764 w 4638102"/>
                  <a:gd name="connsiteY1" fmla="*/ 892366 h 980501"/>
                  <a:gd name="connsiteX2" fmla="*/ 4285562 w 4638102"/>
                  <a:gd name="connsiteY2" fmla="*/ 848299 h 980501"/>
                  <a:gd name="connsiteX3" fmla="*/ 4208444 w 4638102"/>
                  <a:gd name="connsiteY3" fmla="*/ 837282 h 980501"/>
                  <a:gd name="connsiteX4" fmla="*/ 4142342 w 4638102"/>
                  <a:gd name="connsiteY4" fmla="*/ 793215 h 980501"/>
                  <a:gd name="connsiteX5" fmla="*/ 3977089 w 4638102"/>
                  <a:gd name="connsiteY5" fmla="*/ 694063 h 980501"/>
                  <a:gd name="connsiteX6" fmla="*/ 3690651 w 4638102"/>
                  <a:gd name="connsiteY6" fmla="*/ 705080 h 980501"/>
                  <a:gd name="connsiteX7" fmla="*/ 3602516 w 4638102"/>
                  <a:gd name="connsiteY7" fmla="*/ 672029 h 980501"/>
                  <a:gd name="connsiteX8" fmla="*/ 3492347 w 4638102"/>
                  <a:gd name="connsiteY8" fmla="*/ 605928 h 980501"/>
                  <a:gd name="connsiteX9" fmla="*/ 3437263 w 4638102"/>
                  <a:gd name="connsiteY9" fmla="*/ 572877 h 980501"/>
                  <a:gd name="connsiteX10" fmla="*/ 3382179 w 4638102"/>
                  <a:gd name="connsiteY10" fmla="*/ 528810 h 980501"/>
                  <a:gd name="connsiteX11" fmla="*/ 3238959 w 4638102"/>
                  <a:gd name="connsiteY11" fmla="*/ 528810 h 980501"/>
                  <a:gd name="connsiteX12" fmla="*/ 3018622 w 4638102"/>
                  <a:gd name="connsiteY12" fmla="*/ 495759 h 980501"/>
                  <a:gd name="connsiteX13" fmla="*/ 2864386 w 4638102"/>
                  <a:gd name="connsiteY13" fmla="*/ 616945 h 980501"/>
                  <a:gd name="connsiteX14" fmla="*/ 2787268 w 4638102"/>
                  <a:gd name="connsiteY14" fmla="*/ 672029 h 980501"/>
                  <a:gd name="connsiteX15" fmla="*/ 2710150 w 4638102"/>
                  <a:gd name="connsiteY15" fmla="*/ 705080 h 980501"/>
                  <a:gd name="connsiteX16" fmla="*/ 2588964 w 4638102"/>
                  <a:gd name="connsiteY16" fmla="*/ 760164 h 980501"/>
                  <a:gd name="connsiteX17" fmla="*/ 2390661 w 4638102"/>
                  <a:gd name="connsiteY17" fmla="*/ 705080 h 980501"/>
                  <a:gd name="connsiteX18" fmla="*/ 2170323 w 4638102"/>
                  <a:gd name="connsiteY18" fmla="*/ 605928 h 980501"/>
                  <a:gd name="connsiteX19" fmla="*/ 2049138 w 4638102"/>
                  <a:gd name="connsiteY19" fmla="*/ 495759 h 980501"/>
                  <a:gd name="connsiteX20" fmla="*/ 1994053 w 4638102"/>
                  <a:gd name="connsiteY20" fmla="*/ 440675 h 980501"/>
                  <a:gd name="connsiteX21" fmla="*/ 1905918 w 4638102"/>
                  <a:gd name="connsiteY21" fmla="*/ 396607 h 980501"/>
                  <a:gd name="connsiteX22" fmla="*/ 1762699 w 4638102"/>
                  <a:gd name="connsiteY22" fmla="*/ 341523 h 980501"/>
                  <a:gd name="connsiteX23" fmla="*/ 1531345 w 4638102"/>
                  <a:gd name="connsiteY23" fmla="*/ 341523 h 980501"/>
                  <a:gd name="connsiteX24" fmla="*/ 1355075 w 4638102"/>
                  <a:gd name="connsiteY24" fmla="*/ 286439 h 980501"/>
                  <a:gd name="connsiteX25" fmla="*/ 1189822 w 4638102"/>
                  <a:gd name="connsiteY25" fmla="*/ 264405 h 980501"/>
                  <a:gd name="connsiteX26" fmla="*/ 1068636 w 4638102"/>
                  <a:gd name="connsiteY26" fmla="*/ 143219 h 980501"/>
                  <a:gd name="connsiteX27" fmla="*/ 892367 w 4638102"/>
                  <a:gd name="connsiteY27" fmla="*/ 77118 h 980501"/>
                  <a:gd name="connsiteX28" fmla="*/ 760164 w 4638102"/>
                  <a:gd name="connsiteY28" fmla="*/ 66101 h 980501"/>
                  <a:gd name="connsiteX29" fmla="*/ 572877 w 4638102"/>
                  <a:gd name="connsiteY29" fmla="*/ 33051 h 980501"/>
                  <a:gd name="connsiteX30" fmla="*/ 418641 w 4638102"/>
                  <a:gd name="connsiteY30" fmla="*/ 11017 h 980501"/>
                  <a:gd name="connsiteX31" fmla="*/ 0 w 4638102"/>
                  <a:gd name="connsiteY31" fmla="*/ 0 h 9805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4638102" h="980501">
                    <a:moveTo>
                      <a:pt x="4638102" y="980501"/>
                    </a:moveTo>
                    <a:lnTo>
                      <a:pt x="4417764" y="892366"/>
                    </a:lnTo>
                    <a:cubicBezTo>
                      <a:pt x="4359007" y="870332"/>
                      <a:pt x="4320449" y="857480"/>
                      <a:pt x="4285562" y="848299"/>
                    </a:cubicBezTo>
                    <a:cubicBezTo>
                      <a:pt x="4250675" y="839118"/>
                      <a:pt x="4232314" y="846463"/>
                      <a:pt x="4208444" y="837282"/>
                    </a:cubicBezTo>
                    <a:cubicBezTo>
                      <a:pt x="4184574" y="828101"/>
                      <a:pt x="4180901" y="817085"/>
                      <a:pt x="4142342" y="793215"/>
                    </a:cubicBezTo>
                    <a:cubicBezTo>
                      <a:pt x="4103783" y="769345"/>
                      <a:pt x="4052371" y="708752"/>
                      <a:pt x="3977089" y="694063"/>
                    </a:cubicBezTo>
                    <a:cubicBezTo>
                      <a:pt x="3901807" y="679374"/>
                      <a:pt x="3753080" y="708752"/>
                      <a:pt x="3690651" y="705080"/>
                    </a:cubicBezTo>
                    <a:cubicBezTo>
                      <a:pt x="3628222" y="701408"/>
                      <a:pt x="3635567" y="688554"/>
                      <a:pt x="3602516" y="672029"/>
                    </a:cubicBezTo>
                    <a:cubicBezTo>
                      <a:pt x="3569465" y="655504"/>
                      <a:pt x="3492347" y="605928"/>
                      <a:pt x="3492347" y="605928"/>
                    </a:cubicBezTo>
                    <a:cubicBezTo>
                      <a:pt x="3464805" y="589403"/>
                      <a:pt x="3455624" y="585730"/>
                      <a:pt x="3437263" y="572877"/>
                    </a:cubicBezTo>
                    <a:cubicBezTo>
                      <a:pt x="3418902" y="560024"/>
                      <a:pt x="3415230" y="536155"/>
                      <a:pt x="3382179" y="528810"/>
                    </a:cubicBezTo>
                    <a:cubicBezTo>
                      <a:pt x="3349128" y="521466"/>
                      <a:pt x="3299552" y="534319"/>
                      <a:pt x="3238959" y="528810"/>
                    </a:cubicBezTo>
                    <a:cubicBezTo>
                      <a:pt x="3178366" y="523302"/>
                      <a:pt x="3081051" y="481070"/>
                      <a:pt x="3018622" y="495759"/>
                    </a:cubicBezTo>
                    <a:cubicBezTo>
                      <a:pt x="2956193" y="510448"/>
                      <a:pt x="2902945" y="587567"/>
                      <a:pt x="2864386" y="616945"/>
                    </a:cubicBezTo>
                    <a:cubicBezTo>
                      <a:pt x="2825827" y="646323"/>
                      <a:pt x="2812974" y="657340"/>
                      <a:pt x="2787268" y="672029"/>
                    </a:cubicBezTo>
                    <a:cubicBezTo>
                      <a:pt x="2761562" y="686718"/>
                      <a:pt x="2743201" y="690391"/>
                      <a:pt x="2710150" y="705080"/>
                    </a:cubicBezTo>
                    <a:cubicBezTo>
                      <a:pt x="2677099" y="719769"/>
                      <a:pt x="2642212" y="760164"/>
                      <a:pt x="2588964" y="760164"/>
                    </a:cubicBezTo>
                    <a:cubicBezTo>
                      <a:pt x="2535716" y="760164"/>
                      <a:pt x="2460435" y="730786"/>
                      <a:pt x="2390661" y="705080"/>
                    </a:cubicBezTo>
                    <a:cubicBezTo>
                      <a:pt x="2320887" y="679374"/>
                      <a:pt x="2227243" y="640815"/>
                      <a:pt x="2170323" y="605928"/>
                    </a:cubicBezTo>
                    <a:cubicBezTo>
                      <a:pt x="2113403" y="571041"/>
                      <a:pt x="2078516" y="523301"/>
                      <a:pt x="2049138" y="495759"/>
                    </a:cubicBezTo>
                    <a:cubicBezTo>
                      <a:pt x="2019760" y="468217"/>
                      <a:pt x="2017923" y="457200"/>
                      <a:pt x="1994053" y="440675"/>
                    </a:cubicBezTo>
                    <a:cubicBezTo>
                      <a:pt x="1970183" y="424150"/>
                      <a:pt x="1944477" y="413132"/>
                      <a:pt x="1905918" y="396607"/>
                    </a:cubicBezTo>
                    <a:cubicBezTo>
                      <a:pt x="1867359" y="380082"/>
                      <a:pt x="1825128" y="350704"/>
                      <a:pt x="1762699" y="341523"/>
                    </a:cubicBezTo>
                    <a:cubicBezTo>
                      <a:pt x="1700270" y="332342"/>
                      <a:pt x="1599282" y="350704"/>
                      <a:pt x="1531345" y="341523"/>
                    </a:cubicBezTo>
                    <a:cubicBezTo>
                      <a:pt x="1463408" y="332342"/>
                      <a:pt x="1411995" y="299292"/>
                      <a:pt x="1355075" y="286439"/>
                    </a:cubicBezTo>
                    <a:cubicBezTo>
                      <a:pt x="1298155" y="273586"/>
                      <a:pt x="1237562" y="288275"/>
                      <a:pt x="1189822" y="264405"/>
                    </a:cubicBezTo>
                    <a:cubicBezTo>
                      <a:pt x="1142082" y="240535"/>
                      <a:pt x="1118212" y="174433"/>
                      <a:pt x="1068636" y="143219"/>
                    </a:cubicBezTo>
                    <a:cubicBezTo>
                      <a:pt x="1019060" y="112005"/>
                      <a:pt x="943779" y="89971"/>
                      <a:pt x="892367" y="77118"/>
                    </a:cubicBezTo>
                    <a:cubicBezTo>
                      <a:pt x="840955" y="64265"/>
                      <a:pt x="813412" y="73445"/>
                      <a:pt x="760164" y="66101"/>
                    </a:cubicBezTo>
                    <a:cubicBezTo>
                      <a:pt x="706916" y="58757"/>
                      <a:pt x="629797" y="42232"/>
                      <a:pt x="572877" y="33051"/>
                    </a:cubicBezTo>
                    <a:cubicBezTo>
                      <a:pt x="515957" y="23870"/>
                      <a:pt x="514121" y="16526"/>
                      <a:pt x="418641" y="11017"/>
                    </a:cubicBezTo>
                    <a:cubicBezTo>
                      <a:pt x="323162" y="5509"/>
                      <a:pt x="161581" y="2754"/>
                      <a:pt x="0" y="0"/>
                    </a:cubicBezTo>
                  </a:path>
                </a:pathLst>
              </a:custGeom>
              <a:noFill/>
              <a:ln w="38100" cap="flat" cmpd="sng" algn="ctr">
                <a:solidFill>
                  <a:srgbClr val="0000FF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1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Calibri" panose="020F0502020204030204"/>
                  <a:ea typeface="SimSun" pitchFamily="2" charset="-122"/>
                </a:endParaRPr>
              </a:p>
            </p:txBody>
          </p:sp>
          <p:sp>
            <p:nvSpPr>
              <p:cNvPr id="13" name="任意多边形 22"/>
              <p:cNvSpPr/>
              <p:nvPr/>
            </p:nvSpPr>
            <p:spPr bwMode="auto">
              <a:xfrm>
                <a:off x="4916590" y="1839352"/>
                <a:ext cx="701122" cy="1134685"/>
              </a:xfrm>
              <a:custGeom>
                <a:avLst/>
                <a:gdLst>
                  <a:gd name="connsiteX0" fmla="*/ 0 w 605928"/>
                  <a:gd name="connsiteY0" fmla="*/ 0 h 1575413"/>
                  <a:gd name="connsiteX1" fmla="*/ 77118 w 605928"/>
                  <a:gd name="connsiteY1" fmla="*/ 154237 h 1575413"/>
                  <a:gd name="connsiteX2" fmla="*/ 187287 w 605928"/>
                  <a:gd name="connsiteY2" fmla="*/ 506776 h 1575413"/>
                  <a:gd name="connsiteX3" fmla="*/ 308472 w 605928"/>
                  <a:gd name="connsiteY3" fmla="*/ 771181 h 1575413"/>
                  <a:gd name="connsiteX4" fmla="*/ 506776 w 605928"/>
                  <a:gd name="connsiteY4" fmla="*/ 1046603 h 1575413"/>
                  <a:gd name="connsiteX5" fmla="*/ 605928 w 605928"/>
                  <a:gd name="connsiteY5" fmla="*/ 1575413 h 15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928" h="1575413">
                    <a:moveTo>
                      <a:pt x="0" y="0"/>
                    </a:moveTo>
                    <a:cubicBezTo>
                      <a:pt x="22952" y="34887"/>
                      <a:pt x="45904" y="69774"/>
                      <a:pt x="77118" y="154237"/>
                    </a:cubicBezTo>
                    <a:cubicBezTo>
                      <a:pt x="108332" y="238700"/>
                      <a:pt x="148728" y="403952"/>
                      <a:pt x="187287" y="506776"/>
                    </a:cubicBezTo>
                    <a:cubicBezTo>
                      <a:pt x="225846" y="609600"/>
                      <a:pt x="255224" y="681210"/>
                      <a:pt x="308472" y="771181"/>
                    </a:cubicBezTo>
                    <a:cubicBezTo>
                      <a:pt x="361720" y="861152"/>
                      <a:pt x="457200" y="912564"/>
                      <a:pt x="506776" y="1046603"/>
                    </a:cubicBezTo>
                    <a:cubicBezTo>
                      <a:pt x="556352" y="1180642"/>
                      <a:pt x="581140" y="1378027"/>
                      <a:pt x="605928" y="1575413"/>
                    </a:cubicBezTo>
                  </a:path>
                </a:pathLst>
              </a:custGeom>
              <a:noFill/>
              <a:ln w="38100" cap="flat" cmpd="sng" algn="ctr">
                <a:solidFill>
                  <a:srgbClr val="0000CC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21911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800" b="1" kern="0" dirty="0">
                  <a:solidFill>
                    <a:srgbClr val="1D1D1A"/>
                  </a:solidFill>
                  <a:latin typeface="Calibri" panose="020F0502020204030204"/>
                  <a:ea typeface="SimSun" pitchFamily="2" charset="-122"/>
                </a:endParaRPr>
              </a:p>
            </p:txBody>
          </p:sp>
          <p:sp>
            <p:nvSpPr>
              <p:cNvPr id="14" name="任意多边形 23"/>
              <p:cNvSpPr/>
              <p:nvPr/>
            </p:nvSpPr>
            <p:spPr bwMode="auto">
              <a:xfrm>
                <a:off x="3400205" y="1998845"/>
                <a:ext cx="526349" cy="774628"/>
              </a:xfrm>
              <a:custGeom>
                <a:avLst/>
                <a:gdLst>
                  <a:gd name="connsiteX0" fmla="*/ 231354 w 249715"/>
                  <a:gd name="connsiteY0" fmla="*/ 0 h 1729648"/>
                  <a:gd name="connsiteX1" fmla="*/ 242371 w 249715"/>
                  <a:gd name="connsiteY1" fmla="*/ 462708 h 1729648"/>
                  <a:gd name="connsiteX2" fmla="*/ 187287 w 249715"/>
                  <a:gd name="connsiteY2" fmla="*/ 980501 h 1729648"/>
                  <a:gd name="connsiteX3" fmla="*/ 154236 w 249715"/>
                  <a:gd name="connsiteY3" fmla="*/ 1333041 h 1729648"/>
                  <a:gd name="connsiteX4" fmla="*/ 110169 w 249715"/>
                  <a:gd name="connsiteY4" fmla="*/ 1366091 h 1729648"/>
                  <a:gd name="connsiteX5" fmla="*/ 0 w 249715"/>
                  <a:gd name="connsiteY5" fmla="*/ 1729648 h 1729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9715" h="1729648">
                    <a:moveTo>
                      <a:pt x="231354" y="0"/>
                    </a:moveTo>
                    <a:cubicBezTo>
                      <a:pt x="240534" y="149645"/>
                      <a:pt x="249715" y="299291"/>
                      <a:pt x="242371" y="462708"/>
                    </a:cubicBezTo>
                    <a:cubicBezTo>
                      <a:pt x="235027" y="626125"/>
                      <a:pt x="201976" y="835445"/>
                      <a:pt x="187287" y="980501"/>
                    </a:cubicBezTo>
                    <a:cubicBezTo>
                      <a:pt x="172598" y="1125557"/>
                      <a:pt x="167089" y="1268776"/>
                      <a:pt x="154236" y="1333041"/>
                    </a:cubicBezTo>
                    <a:cubicBezTo>
                      <a:pt x="141383" y="1397306"/>
                      <a:pt x="135875" y="1299990"/>
                      <a:pt x="110169" y="1366091"/>
                    </a:cubicBezTo>
                    <a:cubicBezTo>
                      <a:pt x="84463" y="1432192"/>
                      <a:pt x="18361" y="1674564"/>
                      <a:pt x="0" y="1729648"/>
                    </a:cubicBezTo>
                  </a:path>
                </a:pathLst>
              </a:custGeom>
              <a:noFill/>
              <a:ln w="38100" cap="flat" cmpd="sng" algn="ctr">
                <a:solidFill>
                  <a:srgbClr val="C00000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1219118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Calibri" panose="020F0502020204030204"/>
                  <a:ea typeface="SimSun" pitchFamily="2" charset="-122"/>
                </a:endParaRPr>
              </a:p>
            </p:txBody>
          </p:sp>
          <p:sp>
            <p:nvSpPr>
              <p:cNvPr id="15" name="任意多边形 24"/>
              <p:cNvSpPr/>
              <p:nvPr/>
            </p:nvSpPr>
            <p:spPr bwMode="auto">
              <a:xfrm flipH="1">
                <a:off x="2449121" y="1584593"/>
                <a:ext cx="106300" cy="1040187"/>
              </a:xfrm>
              <a:custGeom>
                <a:avLst/>
                <a:gdLst>
                  <a:gd name="connsiteX0" fmla="*/ 0 w 605928"/>
                  <a:gd name="connsiteY0" fmla="*/ 0 h 1806766"/>
                  <a:gd name="connsiteX1" fmla="*/ 132202 w 605928"/>
                  <a:gd name="connsiteY1" fmla="*/ 870333 h 1806766"/>
                  <a:gd name="connsiteX2" fmla="*/ 341523 w 605928"/>
                  <a:gd name="connsiteY2" fmla="*/ 1377108 h 1806766"/>
                  <a:gd name="connsiteX3" fmla="*/ 374573 w 605928"/>
                  <a:gd name="connsiteY3" fmla="*/ 1443210 h 1806766"/>
                  <a:gd name="connsiteX4" fmla="*/ 429658 w 605928"/>
                  <a:gd name="connsiteY4" fmla="*/ 1575412 h 1806766"/>
                  <a:gd name="connsiteX5" fmla="*/ 605928 w 605928"/>
                  <a:gd name="connsiteY5" fmla="*/ 1806766 h 1806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05928" h="1806766">
                    <a:moveTo>
                      <a:pt x="0" y="0"/>
                    </a:moveTo>
                    <a:cubicBezTo>
                      <a:pt x="37641" y="320407"/>
                      <a:pt x="75282" y="640815"/>
                      <a:pt x="132202" y="870333"/>
                    </a:cubicBezTo>
                    <a:cubicBezTo>
                      <a:pt x="189122" y="1099851"/>
                      <a:pt x="301128" y="1281629"/>
                      <a:pt x="341523" y="1377108"/>
                    </a:cubicBezTo>
                    <a:cubicBezTo>
                      <a:pt x="381918" y="1472587"/>
                      <a:pt x="359884" y="1410159"/>
                      <a:pt x="374573" y="1443210"/>
                    </a:cubicBezTo>
                    <a:cubicBezTo>
                      <a:pt x="389262" y="1476261"/>
                      <a:pt x="391099" y="1514819"/>
                      <a:pt x="429658" y="1575412"/>
                    </a:cubicBezTo>
                    <a:cubicBezTo>
                      <a:pt x="468217" y="1636005"/>
                      <a:pt x="583894" y="1770043"/>
                      <a:pt x="605928" y="1806766"/>
                    </a:cubicBezTo>
                  </a:path>
                </a:pathLst>
              </a:custGeom>
              <a:noFill/>
              <a:ln w="38100" cap="flat" cmpd="sng" algn="ctr">
                <a:solidFill>
                  <a:srgbClr val="C00000"/>
                </a:solidFill>
                <a:prstDash val="dash"/>
                <a:round/>
                <a:headEnd type="none" w="med" len="med"/>
                <a:tailEnd type="none" w="med" len="med"/>
              </a:ln>
            </p:spPr>
            <p:txBody>
              <a:bodyPr vert="horz" wrap="square" lIns="91419" tIns="45709" rIns="91419" bIns="45709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21911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Font typeface="Wingdings" pitchFamily="2" charset="2"/>
                  <a:buChar char="n"/>
                </a:pPr>
                <a:endParaRPr lang="zh-CN" altLang="en-US" sz="1800" b="1" kern="0" dirty="0">
                  <a:solidFill>
                    <a:srgbClr val="1D1D1A"/>
                  </a:solidFill>
                  <a:latin typeface="Calibri" panose="020F0502020204030204"/>
                  <a:ea typeface="SimSun" pitchFamily="2" charset="-122"/>
                </a:endParaRPr>
              </a:p>
            </p:txBody>
          </p:sp>
        </p:grpSp>
        <p:sp>
          <p:nvSpPr>
            <p:cNvPr id="6" name="Oval 4"/>
            <p:cNvSpPr/>
            <p:nvPr/>
          </p:nvSpPr>
          <p:spPr>
            <a:xfrm>
              <a:off x="8749588" y="2436322"/>
              <a:ext cx="2117558" cy="1391917"/>
            </a:xfrm>
            <a:prstGeom prst="ellipse">
              <a:avLst/>
            </a:prstGeom>
            <a:solidFill>
              <a:srgbClr val="EA002F">
                <a:alpha val="32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/>
              <a:r>
                <a:rPr lang="ru-RU" sz="1800" b="1" dirty="0" smtClean="0">
                  <a:solidFill>
                    <a:schemeClr val="tx1"/>
                  </a:solidFill>
                </a:rPr>
                <a:t>Восточная Азия</a:t>
              </a:r>
              <a:endParaRPr lang="en-US" sz="1800" dirty="0">
                <a:solidFill>
                  <a:schemeClr val="tx1"/>
                </a:solidFill>
              </a:endParaRPr>
            </a:p>
          </p:txBody>
        </p:sp>
        <p:sp>
          <p:nvSpPr>
            <p:cNvPr id="7" name="Oval 5"/>
            <p:cNvSpPr/>
            <p:nvPr/>
          </p:nvSpPr>
          <p:spPr>
            <a:xfrm>
              <a:off x="761073" y="1290303"/>
              <a:ext cx="1795881" cy="1277336"/>
            </a:xfrm>
            <a:prstGeom prst="ellipse">
              <a:avLst/>
            </a:prstGeom>
            <a:solidFill>
              <a:srgbClr val="FFFF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/>
              <a:endParaRPr lang="en-US" sz="1800" b="1" dirty="0" smtClean="0">
                <a:solidFill>
                  <a:srgbClr val="C00000"/>
                </a:solidFill>
              </a:endParaRPr>
            </a:p>
            <a:p>
              <a:pPr algn="ctr" defTabSz="914387"/>
              <a:r>
                <a:rPr lang="ru-RU" sz="1800" b="1" dirty="0" smtClean="0">
                  <a:solidFill>
                    <a:schemeClr val="tx1"/>
                  </a:solidFill>
                </a:rPr>
                <a:t>Европа</a:t>
              </a:r>
              <a:endParaRPr lang="en-US" sz="1800" b="1" dirty="0">
                <a:solidFill>
                  <a:schemeClr val="tx1"/>
                </a:solidFill>
              </a:endParaRPr>
            </a:p>
          </p:txBody>
        </p:sp>
        <p:sp>
          <p:nvSpPr>
            <p:cNvPr id="18" name="Oval 5"/>
            <p:cNvSpPr/>
            <p:nvPr/>
          </p:nvSpPr>
          <p:spPr>
            <a:xfrm>
              <a:off x="3700678" y="1332610"/>
              <a:ext cx="3669698" cy="1452386"/>
            </a:xfrm>
            <a:prstGeom prst="ellipse">
              <a:avLst/>
            </a:prstGeom>
            <a:solidFill>
              <a:srgbClr val="92D05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87"/>
              <a:r>
                <a:rPr lang="ru-RU" b="1" dirty="0" smtClean="0">
                  <a:solidFill>
                    <a:schemeClr val="tx1"/>
                  </a:solidFill>
                </a:rPr>
                <a:t>Евразия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Freeform 6"/>
          <p:cNvSpPr/>
          <p:nvPr/>
        </p:nvSpPr>
        <p:spPr>
          <a:xfrm rot="248976">
            <a:off x="1286625" y="4610022"/>
            <a:ext cx="8616554" cy="1486567"/>
          </a:xfrm>
          <a:custGeom>
            <a:avLst/>
            <a:gdLst>
              <a:gd name="connsiteX0" fmla="*/ 4505088 w 4505088"/>
              <a:gd name="connsiteY0" fmla="*/ 711200 h 1661202"/>
              <a:gd name="connsiteX1" fmla="*/ 4159648 w 4505088"/>
              <a:gd name="connsiteY1" fmla="*/ 1016000 h 1661202"/>
              <a:gd name="connsiteX2" fmla="*/ 4169808 w 4505088"/>
              <a:gd name="connsiteY2" fmla="*/ 1635760 h 1661202"/>
              <a:gd name="connsiteX3" fmla="*/ 3052208 w 4505088"/>
              <a:gd name="connsiteY3" fmla="*/ 1381760 h 1661202"/>
              <a:gd name="connsiteX4" fmla="*/ 2757568 w 4505088"/>
              <a:gd name="connsiteY4" fmla="*/ 1656080 h 1661202"/>
              <a:gd name="connsiteX5" fmla="*/ 2351168 w 4505088"/>
              <a:gd name="connsiteY5" fmla="*/ 1087120 h 1661202"/>
              <a:gd name="connsiteX6" fmla="*/ 1436768 w 4505088"/>
              <a:gd name="connsiteY6" fmla="*/ 1351280 h 1661202"/>
              <a:gd name="connsiteX7" fmla="*/ 867808 w 4505088"/>
              <a:gd name="connsiteY7" fmla="*/ 396240 h 1661202"/>
              <a:gd name="connsiteX8" fmla="*/ 115968 w 4505088"/>
              <a:gd name="connsiteY8" fmla="*/ 284480 h 1661202"/>
              <a:gd name="connsiteX9" fmla="*/ 14368 w 4505088"/>
              <a:gd name="connsiteY9" fmla="*/ 0 h 1661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05088" h="1661202">
                <a:moveTo>
                  <a:pt x="4505088" y="711200"/>
                </a:moveTo>
                <a:cubicBezTo>
                  <a:pt x="4360308" y="786553"/>
                  <a:pt x="4215528" y="861907"/>
                  <a:pt x="4159648" y="1016000"/>
                </a:cubicBezTo>
                <a:cubicBezTo>
                  <a:pt x="4103768" y="1170093"/>
                  <a:pt x="4354381" y="1574800"/>
                  <a:pt x="4169808" y="1635760"/>
                </a:cubicBezTo>
                <a:cubicBezTo>
                  <a:pt x="3985235" y="1696720"/>
                  <a:pt x="3287581" y="1378373"/>
                  <a:pt x="3052208" y="1381760"/>
                </a:cubicBezTo>
                <a:cubicBezTo>
                  <a:pt x="2816835" y="1385147"/>
                  <a:pt x="2874408" y="1705187"/>
                  <a:pt x="2757568" y="1656080"/>
                </a:cubicBezTo>
                <a:cubicBezTo>
                  <a:pt x="2640728" y="1606973"/>
                  <a:pt x="2571301" y="1137920"/>
                  <a:pt x="2351168" y="1087120"/>
                </a:cubicBezTo>
                <a:cubicBezTo>
                  <a:pt x="2131035" y="1036320"/>
                  <a:pt x="1683995" y="1466427"/>
                  <a:pt x="1436768" y="1351280"/>
                </a:cubicBezTo>
                <a:cubicBezTo>
                  <a:pt x="1189541" y="1236133"/>
                  <a:pt x="1087941" y="574040"/>
                  <a:pt x="867808" y="396240"/>
                </a:cubicBezTo>
                <a:cubicBezTo>
                  <a:pt x="647675" y="218440"/>
                  <a:pt x="258208" y="350520"/>
                  <a:pt x="115968" y="284480"/>
                </a:cubicBezTo>
                <a:cubicBezTo>
                  <a:pt x="-26272" y="218440"/>
                  <a:pt x="-5952" y="109220"/>
                  <a:pt x="14368" y="0"/>
                </a:cubicBezTo>
              </a:path>
            </a:pathLst>
          </a:custGeom>
          <a:noFill/>
          <a:ln w="25400">
            <a:solidFill>
              <a:schemeClr val="bg1">
                <a:lumMod val="75000"/>
              </a:schemeClr>
            </a:solidFill>
            <a:headEnd type="triangl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87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33" name="Text Box 43"/>
          <p:cNvSpPr txBox="1">
            <a:spLocks noChangeArrowheads="1"/>
          </p:cNvSpPr>
          <p:nvPr/>
        </p:nvSpPr>
        <p:spPr bwMode="auto">
          <a:xfrm rot="688840">
            <a:off x="3354768" y="5134088"/>
            <a:ext cx="2916381" cy="369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03" tIns="45702" rIns="91403" bIns="45702">
            <a:spAutoFit/>
          </a:bodyPr>
          <a:lstStyle/>
          <a:p>
            <a:pPr defTabSz="914387">
              <a:lnSpc>
                <a:spcPct val="150000"/>
              </a:lnSpc>
            </a:pPr>
            <a:r>
              <a:rPr lang="ru-RU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Подводный Кабель </a:t>
            </a:r>
            <a:r>
              <a:rPr lang="en-US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&gt;20,000 </a:t>
            </a:r>
            <a:r>
              <a:rPr lang="ru-RU" altLang="zh-CN" sz="1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Arial" pitchFamily="34" charset="0"/>
              </a:rPr>
              <a:t>км</a:t>
            </a:r>
            <a:endParaRPr lang="zh-CN" altLang="en-US" sz="1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557823" y="3204403"/>
            <a:ext cx="32169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/>
            <a:r>
              <a:rPr kumimoji="1" lang="en-US" altLang="zh-CN" sz="1800" b="1" dirty="0">
                <a:solidFill>
                  <a:srgbClr val="0000CC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100 </a:t>
            </a:r>
            <a:r>
              <a:rPr kumimoji="1" lang="ru-RU" altLang="zh-CN" sz="1800" b="1" dirty="0" smtClean="0">
                <a:solidFill>
                  <a:srgbClr val="0000CC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Терабит/сек</a:t>
            </a:r>
            <a:r>
              <a:rPr kumimoji="1" lang="en-US" altLang="zh-CN" sz="1800" b="1" dirty="0" smtClean="0">
                <a:solidFill>
                  <a:srgbClr val="0000CC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1" lang="en-US" altLang="zh-CN" sz="1400" b="1" dirty="0">
                <a:solidFill>
                  <a:srgbClr val="0000CC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@ 2025</a:t>
            </a:r>
          </a:p>
        </p:txBody>
      </p:sp>
      <p:sp>
        <p:nvSpPr>
          <p:cNvPr id="34" name="矩形 33"/>
          <p:cNvSpPr/>
          <p:nvPr/>
        </p:nvSpPr>
        <p:spPr>
          <a:xfrm>
            <a:off x="5324094" y="3778765"/>
            <a:ext cx="32798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/>
            <a:r>
              <a:rPr kumimoji="1" lang="en-US" altLang="zh-CN" sz="1800" b="1" dirty="0" smtClean="0">
                <a:solidFill>
                  <a:schemeClr val="accent1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15 </a:t>
            </a:r>
            <a:r>
              <a:rPr kumimoji="1" lang="ru-RU" altLang="zh-CN" sz="1800" b="1" dirty="0" smtClean="0">
                <a:solidFill>
                  <a:schemeClr val="accent1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Терабит/сек</a:t>
            </a:r>
            <a:r>
              <a:rPr kumimoji="1" lang="en-US" altLang="zh-CN" sz="1800" b="1" dirty="0" smtClean="0">
                <a:solidFill>
                  <a:schemeClr val="accent1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kumimoji="1" lang="en-US" altLang="zh-CN" sz="1400" b="1" dirty="0">
                <a:solidFill>
                  <a:schemeClr val="accent1"/>
                </a:solidFill>
                <a:latin typeface="Arial"/>
                <a:ea typeface="Microsoft YaHei" panose="020B0503020204020204" pitchFamily="34" charset="-122"/>
                <a:cs typeface="Arial" panose="020B0604020202020204" pitchFamily="34" charset="0"/>
              </a:rPr>
              <a:t>@ 2025</a:t>
            </a:r>
          </a:p>
        </p:txBody>
      </p:sp>
      <p:sp>
        <p:nvSpPr>
          <p:cNvPr id="35" name="矩形 34"/>
          <p:cNvSpPr/>
          <p:nvPr/>
        </p:nvSpPr>
        <p:spPr>
          <a:xfrm>
            <a:off x="5881019" y="863506"/>
            <a:ext cx="6079817" cy="18004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Предложение</a:t>
            </a:r>
            <a:endParaRPr lang="en-US" sz="18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Построить 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3 </a:t>
            </a:r>
            <a:r>
              <a:rPr lang="ru-RU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Горизонтальных 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(100</a:t>
            </a:r>
            <a:r>
              <a:rPr lang="ru-RU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Терабит/сек каждый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) </a:t>
            </a:r>
            <a:r>
              <a:rPr lang="ru-RU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и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altLang="zh-CN" sz="1400" b="1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3 Вертикальных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(15</a:t>
            </a:r>
            <a:r>
              <a:rPr lang="ru-RU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Терабит/сек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ru-RU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каждый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) </a:t>
            </a:r>
            <a:r>
              <a:rPr lang="ru-RU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Участка </a:t>
            </a:r>
            <a:r>
              <a:rPr lang="en-US" altLang="zh-CN" sz="1400" b="1" dirty="0" smtClean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@ 2025</a:t>
            </a:r>
            <a:r>
              <a:rPr lang="ru-RU" altLang="zh-CN" sz="1400" b="1" dirty="0">
                <a:solidFill>
                  <a:schemeClr val="accent4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rPr>
              <a:t>.</a:t>
            </a:r>
            <a:endParaRPr lang="en-US" altLang="zh-CN" sz="1400" b="1" dirty="0" smtClean="0">
              <a:solidFill>
                <a:schemeClr val="accent4"/>
              </a:solidFill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Учредить</a:t>
            </a:r>
            <a:r>
              <a:rPr lang="en-US" sz="1400" b="1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ru-RU" sz="1400" b="1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РСС Альянс</a:t>
            </a:r>
            <a:r>
              <a:rPr lang="en-US" sz="1400" b="1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ru-RU" sz="1400" b="1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Наземной Транспортной Сети</a:t>
            </a:r>
            <a:r>
              <a:rPr lang="en-US" sz="1400" b="1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ru-RU" sz="1400" b="1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для дизайна сети и проектной координации.</a:t>
            </a:r>
            <a:endParaRPr lang="en-US" sz="1400" b="1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57714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1"/>
          <p:cNvSpPr txBox="1">
            <a:spLocks noChangeArrowheads="1"/>
          </p:cNvSpPr>
          <p:nvPr/>
        </p:nvSpPr>
        <p:spPr bwMode="auto">
          <a:xfrm>
            <a:off x="1633540" y="2512464"/>
            <a:ext cx="9288463" cy="1434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7" rIns="91435" bIns="45717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ru-RU" altLang="zh-CN" sz="6600" dirty="0" smtClean="0">
                <a:solidFill>
                  <a:srgbClr val="FFFFFF"/>
                </a:solidFill>
                <a:ea typeface="微软雅黑" panose="020B0503020204020204" pitchFamily="34" charset="-122"/>
              </a:rPr>
              <a:t>Большое Спасибо</a:t>
            </a:r>
            <a:r>
              <a:rPr lang="zh-CN" altLang="en-US" sz="6600" dirty="0" smtClean="0">
                <a:solidFill>
                  <a:srgbClr val="FFFFFF"/>
                </a:solidFill>
                <a:ea typeface="微软雅黑" panose="020B0503020204020204" pitchFamily="34" charset="-122"/>
              </a:rPr>
              <a:t>！</a:t>
            </a:r>
            <a:endParaRPr lang="zh-CN" altLang="en-US" sz="6600" dirty="0">
              <a:solidFill>
                <a:srgbClr val="FFFFFF"/>
              </a:solidFill>
              <a:ea typeface="微软雅黑" panose="020B0503020204020204" pitchFamily="34" charset="-122"/>
            </a:endParaRPr>
          </a:p>
        </p:txBody>
      </p:sp>
      <p:cxnSp>
        <p:nvCxnSpPr>
          <p:cNvPr id="10" name="直接连接符 3"/>
          <p:cNvCxnSpPr/>
          <p:nvPr/>
        </p:nvCxnSpPr>
        <p:spPr>
          <a:xfrm flipV="1">
            <a:off x="3937347" y="3947080"/>
            <a:ext cx="4248472" cy="29808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</a:ln>
          <a:effectLst/>
        </p:spPr>
      </p:cxnSp>
      <p:sp>
        <p:nvSpPr>
          <p:cNvPr id="5" name="íṣľîďè">
            <a:extLst>
              <a:ext uri="{FF2B5EF4-FFF2-40B4-BE49-F238E27FC236}">
                <a16:creationId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id="{D149409A-735B-4F32-8CE7-F43F8BF6683A}"/>
              </a:ext>
            </a:extLst>
          </p:cNvPr>
          <p:cNvSpPr txBox="1"/>
          <p:nvPr/>
        </p:nvSpPr>
        <p:spPr>
          <a:xfrm>
            <a:off x="-36004" y="4329990"/>
            <a:ext cx="12195174" cy="516423"/>
          </a:xfrm>
          <a:prstGeom prst="rect">
            <a:avLst/>
          </a:prstGeom>
          <a:noFill/>
          <a:ln>
            <a:noFill/>
          </a:ln>
        </p:spPr>
        <p:txBody>
          <a:bodyPr wrap="square" lIns="68580" tIns="34290" rIns="68580" bIns="34290" anchor="b" anchorCtr="0">
            <a:noAutofit/>
          </a:bodyPr>
          <a:lstStyle/>
          <a:p>
            <a:pPr algn="ctr" defTabSz="914478"/>
            <a:r>
              <a:rPr lang="ru-RU" altLang="zh-CN" sz="220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sym typeface="Arial" panose="020B0604020202020204" pitchFamily="34" charset="0"/>
              </a:rPr>
              <a:t>Цифровые </a:t>
            </a:r>
            <a:r>
              <a:rPr lang="ru-RU" altLang="zh-CN" sz="220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sym typeface="Arial" panose="020B0604020202020204" pitchFamily="34" charset="0"/>
              </a:rPr>
              <a:t>Сервисы </a:t>
            </a:r>
            <a:r>
              <a:rPr lang="en-US" altLang="zh-CN" sz="220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sym typeface="Arial" panose="020B0604020202020204" pitchFamily="34" charset="0"/>
              </a:rPr>
              <a:t>- </a:t>
            </a:r>
            <a:r>
              <a:rPr lang="ru-RU" altLang="zh-CN" sz="2200" dirty="0" smtClean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sym typeface="Arial" panose="020B0604020202020204" pitchFamily="34" charset="0"/>
              </a:rPr>
              <a:t>Каждому </a:t>
            </a:r>
            <a:r>
              <a:rPr lang="ru-RU" altLang="zh-CN" sz="2200" dirty="0">
                <a:solidFill>
                  <a:srgbClr val="FFFFFF"/>
                </a:solidFill>
                <a:latin typeface="Arial Unicode MS" panose="020B0604020202020204" pitchFamily="34" charset="-122"/>
                <a:ea typeface="Arial Unicode MS" panose="020B0604020202020204" pitchFamily="34" charset="-122"/>
                <a:sym typeface="Arial" panose="020B0604020202020204" pitchFamily="34" charset="0"/>
              </a:rPr>
              <a:t>Жителю, Домохозяйству и Организации Для Построения Взаимувязанного, Интеллектуального Региона Евразия</a:t>
            </a:r>
            <a:endParaRPr lang="en-US" altLang="zh-CN" sz="2200" dirty="0">
              <a:solidFill>
                <a:srgbClr val="FFFFFF"/>
              </a:solidFill>
              <a:latin typeface="Arial Unicode MS" panose="020B0604020202020204" pitchFamily="34" charset="-122"/>
              <a:ea typeface="Arial Unicode MS" panose="020B0604020202020204" pitchFamily="34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56427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0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1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2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3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4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5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5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演示文稿1" id="{31AD3342-B2D7-44AB-B447-0EEAFE75289A}" vid="{16663F97-3F87-4F0C-A339-415FFD08A83B}"/>
    </a:ext>
  </a:extLst>
</a:theme>
</file>

<file path=ppt/theme/theme17.xml><?xml version="1.0" encoding="utf-8"?>
<a:theme xmlns:a="http://schemas.openxmlformats.org/drawingml/2006/main" name="16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7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8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6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演示文稿1" id="{5D7106B4-FD24-471A-B326-8B58E27A973B}" vid="{6DF1AB71-8E54-4DA3-96CA-45CA365BFE54}"/>
    </a:ext>
  </a:extLst>
</a:theme>
</file>

<file path=ppt/theme/theme2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6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8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9_内容Copytext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自定义 2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7459</TotalTime>
  <Words>280</Words>
  <Application>Microsoft Office PowerPoint</Application>
  <PresentationFormat>Произвольный</PresentationFormat>
  <Paragraphs>52</Paragraphs>
  <Slides>5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26" baseType="lpstr">
      <vt:lpstr>4_Chart page</vt:lpstr>
      <vt:lpstr>2_内容Copytext </vt:lpstr>
      <vt:lpstr>3_内容Copytext </vt:lpstr>
      <vt:lpstr>4_内容Copytext </vt:lpstr>
      <vt:lpstr>5_内容Copytext </vt:lpstr>
      <vt:lpstr>6_内容Copytext </vt:lpstr>
      <vt:lpstr>7_内容Copytext </vt:lpstr>
      <vt:lpstr>8_内容Copytext </vt:lpstr>
      <vt:lpstr>9_内容Copytext </vt:lpstr>
      <vt:lpstr>10_内容Copytext </vt:lpstr>
      <vt:lpstr>11_内容Copytext </vt:lpstr>
      <vt:lpstr>12_内容Copytext </vt:lpstr>
      <vt:lpstr>13_内容Copytext </vt:lpstr>
      <vt:lpstr>14_内容Copytext </vt:lpstr>
      <vt:lpstr>15_内容Copytext </vt:lpstr>
      <vt:lpstr>5_Chart page</vt:lpstr>
      <vt:lpstr>16_内容Copytext </vt:lpstr>
      <vt:lpstr>17_内容Copytext </vt:lpstr>
      <vt:lpstr>18_内容Copytext </vt:lpstr>
      <vt:lpstr>6_Chart pag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Zhouchuan (Luc)</dc:creator>
  <cp:lastModifiedBy>Роман</cp:lastModifiedBy>
  <cp:revision>1900</cp:revision>
  <cp:lastPrinted>2019-04-04T01:45:53Z</cp:lastPrinted>
  <dcterms:created xsi:type="dcterms:W3CDTF">2014-09-24T01:01:53Z</dcterms:created>
  <dcterms:modified xsi:type="dcterms:W3CDTF">2019-09-16T02:5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_ms_pID_72543">
    <vt:lpwstr>(4)shAHHLqh2IHkUhw6d4RWXw57Txj67mhcjPmjGYIDqp9/evKFOLWMcErmG38V2NxiD4Ob0UvH
hVXAAfD9Ucc6akzYn1ar9jDQisfiMDFlY/DFynibWW+vtbLciqS59LyyHjiplQrJ72q89RiG
2ul6tbuA6BFdkZ9xlaNZ3TTm+RxilJWisKqSeltBjxZl92dYkKqw3OLiH53utQ+GIjexfdLL
ods+lvx4v8WOrHnSqv</vt:lpwstr>
  </property>
  <property fmtid="{D5CDD505-2E9C-101B-9397-08002B2CF9AE}" pid="3" name="_new_ms_pID_725431">
    <vt:lpwstr>s8d2c++0t+0XOYMo3pSshGDqQHz3WHEPwymynpQ+rnL66v3wI14MzV
HNJnQnKjXy/7E4hMVN0Kk9KRoroxHF8dgTJ4U+AQzivdYGiYbt9VAkAg8m+RC7QT7WVN9EQT
wmCzGr5/+ipfSQDF7Rq8JnHLfSB5z0Xgb2zmL8x6B+RyfCcM1HOE72LeX1ldua+dUdrXaODB
H2Y0HlOus7G4pJtI0slNMr1aYJ1bFGUNC00g</vt:lpwstr>
  </property>
  <property fmtid="{D5CDD505-2E9C-101B-9397-08002B2CF9AE}" pid="4" name="_new_ms_pID_725432">
    <vt:lpwstr>yREX2H2c5E0f/GaTOVAoZ4LhSNJ8WjBrR1Zz
+njJM+OSpHG4/WpobJp0Gu2cowhP99/wP0n9kBLSbDBYEZPufFgAcm/4c6djsW9OPIW2HLAU
burqBuWBL3IrR1M9BYJAuzBkrjlBtqgM6wjbQbXKGO8jpSY05JCK6GwPpNKKPzBS7P+BopYX
eKlfRHKANVlHjtUIVB7OAm0nooa8rJCkLsg4XSXl32spmxI3NpbMqp</vt:lpwstr>
  </property>
  <property fmtid="{D5CDD505-2E9C-101B-9397-08002B2CF9AE}" pid="5" name="_new_ms_pID_725433">
    <vt:lpwstr>083Fj+pKRlx2mxXPVD
YREvxwXQ2Ssb8ujBV3MXlRaxxKs=</vt:lpwstr>
  </property>
  <property fmtid="{D5CDD505-2E9C-101B-9397-08002B2CF9AE}" pid="6" name="_2015_ms_pID_725343">
    <vt:lpwstr>(3)8hY5qjLA4G1F0vDAraDk/gd79IEl/ed4LVeB8wLEsd/jVtiWTqsUrORn0N4TplvjOG1tBzJc
WNL0TDf2VKCRn4on5gsps83t2RcKeM6+9EgLlCvP3MtjxlAeFuAvp5gdUCt6AH1aC8MbDTmb
PIQmzHhdioPtV5Ih3TR5OSgC+4v127CEPHJCNYwaPfgOHaJPi8TOebLIt53hMu+9G6og44e2
FT95wcGfctEms0vdPC</vt:lpwstr>
  </property>
  <property fmtid="{D5CDD505-2E9C-101B-9397-08002B2CF9AE}" pid="7" name="_2015_ms_pID_7253431">
    <vt:lpwstr>j89gB7RpnuEFFGOhJr7VB2diWz0T2xUFu1+WI92HB+vJSE6FZakeJj
qAijfNc4z9xW1ldxyFoITjrIAGh9nLncobcbaORrCGPUgjj4BSLQLBV94T/bxjjg//uOgFgk
FrlV36s4Eh9MD9B/iOzSItpcCdYd7PEewR8AXWnXyg57o9xysj/ErQBklYWTOGNSRgNaT46K
DJ+7oarG2UCf+sCGfKbjE49h0zTLKIdZz9JD</vt:lpwstr>
  </property>
  <property fmtid="{D5CDD505-2E9C-101B-9397-08002B2CF9AE}" pid="8" name="_2015_ms_pID_7253432">
    <vt:lpwstr>DBHroEgWX6BCPTIO5TY2H/IX0iR06ryLUKLH
/kvHrByk+b+2CKnfbNJ8TlkELPM4G2oXnGQJya9FnSbebnIKHlg=</vt:lpwstr>
  </property>
  <property fmtid="{D5CDD505-2E9C-101B-9397-08002B2CF9AE}" pid="9" name="_readonly">
    <vt:lpwstr/>
  </property>
  <property fmtid="{D5CDD505-2E9C-101B-9397-08002B2CF9AE}" pid="10" name="_change">
    <vt:lpwstr/>
  </property>
  <property fmtid="{D5CDD505-2E9C-101B-9397-08002B2CF9AE}" pid="11" name="_full-control">
    <vt:lpwstr/>
  </property>
  <property fmtid="{D5CDD505-2E9C-101B-9397-08002B2CF9AE}" pid="12" name="sflag">
    <vt:lpwstr>1568566807</vt:lpwstr>
  </property>
</Properties>
</file>